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Default Extension="xlsm" ContentType="application/vnd.ms-excel.sheet.macroEnabled.12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  <p:sldMasterId id="2147483671" r:id="rId3"/>
  </p:sldMasterIdLst>
  <p:notesMasterIdLst>
    <p:notesMasterId r:id="rId35"/>
  </p:notesMasterIdLst>
  <p:handoutMasterIdLst>
    <p:handoutMasterId r:id="rId36"/>
  </p:handoutMasterIdLst>
  <p:sldIdLst>
    <p:sldId id="432" r:id="rId4"/>
    <p:sldId id="358" r:id="rId5"/>
    <p:sldId id="427" r:id="rId6"/>
    <p:sldId id="463" r:id="rId7"/>
    <p:sldId id="424" r:id="rId8"/>
    <p:sldId id="425" r:id="rId9"/>
    <p:sldId id="465" r:id="rId10"/>
    <p:sldId id="464" r:id="rId11"/>
    <p:sldId id="364" r:id="rId12"/>
    <p:sldId id="435" r:id="rId13"/>
    <p:sldId id="437" r:id="rId14"/>
    <p:sldId id="439" r:id="rId15"/>
    <p:sldId id="452" r:id="rId16"/>
    <p:sldId id="453" r:id="rId17"/>
    <p:sldId id="454" r:id="rId18"/>
    <p:sldId id="455" r:id="rId19"/>
    <p:sldId id="457" r:id="rId20"/>
    <p:sldId id="456" r:id="rId21"/>
    <p:sldId id="441" r:id="rId22"/>
    <p:sldId id="442" r:id="rId23"/>
    <p:sldId id="451" r:id="rId24"/>
    <p:sldId id="443" r:id="rId25"/>
    <p:sldId id="444" r:id="rId26"/>
    <p:sldId id="466" r:id="rId27"/>
    <p:sldId id="445" r:id="rId28"/>
    <p:sldId id="446" r:id="rId29"/>
    <p:sldId id="447" r:id="rId30"/>
    <p:sldId id="458" r:id="rId31"/>
    <p:sldId id="460" r:id="rId32"/>
    <p:sldId id="462" r:id="rId33"/>
    <p:sldId id="450" r:id="rId34"/>
  </p:sldIdLst>
  <p:sldSz cx="9144000" cy="5715000" type="screen16x10"/>
  <p:notesSz cx="6797675" cy="9928225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1C3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53" autoAdjust="0"/>
    <p:restoredTop sz="73656" autoAdjust="0"/>
  </p:normalViewPr>
  <p:slideViewPr>
    <p:cSldViewPr>
      <p:cViewPr>
        <p:scale>
          <a:sx n="75" d="100"/>
          <a:sy n="75" d="100"/>
        </p:scale>
        <p:origin x="-1470" y="-324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1908" y="2946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image" Target="../media/image14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9.wmf"/><Relationship Id="rId1" Type="http://schemas.openxmlformats.org/officeDocument/2006/relationships/image" Target="../media/image18.wmf"/><Relationship Id="rId5" Type="http://schemas.openxmlformats.org/officeDocument/2006/relationships/image" Target="../media/image22.wmf"/><Relationship Id="rId4" Type="http://schemas.openxmlformats.org/officeDocument/2006/relationships/image" Target="../media/image21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wmf"/><Relationship Id="rId1" Type="http://schemas.openxmlformats.org/officeDocument/2006/relationships/image" Target="../media/image23.wmf"/><Relationship Id="rId6" Type="http://schemas.openxmlformats.org/officeDocument/2006/relationships/image" Target="../media/image28.wmf"/><Relationship Id="rId5" Type="http://schemas.openxmlformats.org/officeDocument/2006/relationships/image" Target="../media/image27.wmf"/><Relationship Id="rId4" Type="http://schemas.openxmlformats.org/officeDocument/2006/relationships/image" Target="../media/image26.w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w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wmf"/><Relationship Id="rId2" Type="http://schemas.openxmlformats.org/officeDocument/2006/relationships/image" Target="../media/image36.wmf"/><Relationship Id="rId1" Type="http://schemas.openxmlformats.org/officeDocument/2006/relationships/image" Target="../media/image35.wmf"/><Relationship Id="rId4" Type="http://schemas.openxmlformats.org/officeDocument/2006/relationships/image" Target="../media/image38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image" Target="../media/image39.w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wmf"/><Relationship Id="rId1" Type="http://schemas.openxmlformats.org/officeDocument/2006/relationships/image" Target="../media/image42.w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46.wmf"/><Relationship Id="rId1" Type="http://schemas.openxmlformats.org/officeDocument/2006/relationships/image" Target="../media/image45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image" Target="../media/image5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1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81104104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2250" y="620713"/>
            <a:ext cx="6353175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907"/>
            <a:ext cx="6372865" cy="4591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1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874553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54227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07101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461328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15555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1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6126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7" descr="shutterstock_30013249.jpg"/>
          <p:cNvPicPr>
            <a:picLocks noChangeAspect="1"/>
          </p:cNvPicPr>
          <p:nvPr userDrawn="1"/>
        </p:nvPicPr>
        <p:blipFill>
          <a:blip r:embed="rId3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</p:spPr>
        <p:txBody>
          <a:bodyPr lIns="276113" tIns="337471" rIns="30679" bIns="30679" anchor="t"/>
          <a:lstStyle>
            <a:lvl1pPr marL="0" indent="0" algn="l">
              <a:tabLst/>
              <a:defRPr sz="31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75274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>
              <a:defRPr sz="31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  <p:transition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C500E-AD66-488F-A872-75C52CFC7C11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E27EC-F835-494C-A39E-3025FB6077FA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672418"/>
            <a:ext cx="7772400" cy="1135062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422261"/>
            <a:ext cx="7772400" cy="1250156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A7ACD-79EF-42D1-A067-785A3C82FC0E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7FC0F-F86F-4CFA-BCB8-1DB01D2E5675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066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066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279261"/>
            <a:ext cx="4041531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1812396"/>
            <a:ext cx="4041531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C4747-0B79-492F-9DA7-AAF6176D0DA4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6A7F3-B72E-4A48-A249-F2217CB04C17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E40AC-8756-4774-92AB-E3D9585E96B3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1"/>
            <a:ext cx="3008435" cy="96837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27543"/>
            <a:ext cx="5111262" cy="487759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8"/>
            <a:ext cx="3008435" cy="39092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CC40-9798-460F-967E-8994E0F87AB9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000500"/>
            <a:ext cx="5486400" cy="472282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510646"/>
            <a:ext cx="5486400" cy="3429000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472782"/>
            <a:ext cx="5486400" cy="6707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5D6CC-B30E-4E36-B206-7B891AD51EB1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071551"/>
            <a:ext cx="9144000" cy="464345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76113" tIns="337471" rIns="30679" bIns="30679" numCol="1" anchor="t" anchorCtr="0" compatLnSpc="1">
            <a:prstTxWarp prst="textNoShape">
              <a:avLst/>
            </a:prstTxWarp>
          </a:bodyPr>
          <a:lstStyle>
            <a:lvl1pPr marL="0" indent="0" algn="l" defTabSz="77925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1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8EBE4-6C48-4FA0-A908-0BF086D55672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6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28866"/>
            <a:ext cx="6031523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427BC-B659-437B-AFBF-8C55F1CA1387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75274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>
              <a:defRPr sz="31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  <p:transition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6979089" y="4480292"/>
            <a:ext cx="21649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06792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500" b="0" dirty="0" smtClean="0">
                <a:solidFill>
                  <a:schemeClr val="bg1"/>
                </a:solidFill>
              </a:rPr>
              <a:t>www.se.capgemini.com</a:t>
            </a:r>
            <a:endParaRPr lang="en-US" sz="1500" b="0" dirty="0">
              <a:solidFill>
                <a:schemeClr val="bg1"/>
              </a:solidFill>
            </a:endParaRP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4" y="768339"/>
            <a:ext cx="4317023" cy="847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5494703"/>
            <a:ext cx="9144000" cy="220297"/>
          </a:xfrm>
          <a:prstGeom prst="rect">
            <a:avLst/>
          </a:prstGeom>
        </p:spPr>
        <p:txBody>
          <a:bodyPr lIns="77925" tIns="0" rIns="306792" bIns="153396" anchor="b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500" dirty="0">
                <a:solidFill>
                  <a:schemeClr val="bg1"/>
                </a:solidFill>
              </a:rPr>
              <a:t>The information contained in this presentation is </a:t>
            </a:r>
            <a:r>
              <a:rPr lang="en-US" sz="500" dirty="0" smtClean="0">
                <a:solidFill>
                  <a:schemeClr val="bg1"/>
                </a:solidFill>
              </a:rPr>
              <a:t>proprietary. ©2012 </a:t>
            </a:r>
            <a:r>
              <a:rPr lang="en-US" sz="500" dirty="0">
                <a:solidFill>
                  <a:schemeClr val="bg1"/>
                </a:solidFill>
              </a:rPr>
              <a:t>Capgemini. All rights reserved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68959" y="4046878"/>
            <a:ext cx="3511303" cy="327661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7" descr="shutterstock_30013249.jpg"/>
          <p:cNvPicPr>
            <a:picLocks noChangeAspect="1"/>
          </p:cNvPicPr>
          <p:nvPr userDrawn="1"/>
        </p:nvPicPr>
        <p:blipFill>
          <a:blip r:embed="rId2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75300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 defTabSz="779252" rtl="0" eaLnBrk="1" latinLnBrk="0" hangingPunct="1">
              <a:spcBef>
                <a:spcPct val="0"/>
              </a:spcBef>
              <a:buNone/>
              <a:defRPr lang="en-US" sz="31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  <p:transition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3583940"/>
            <a:ext cx="9144000" cy="952500"/>
          </a:xfrm>
          <a:prstGeom prst="rect">
            <a:avLst/>
          </a:prstGeom>
        </p:spPr>
        <p:txBody>
          <a:bodyPr lIns="306792" tIns="38963" rIns="306792" bIns="38963" anchor="t"/>
          <a:lstStyle>
            <a:lvl1pPr algn="r" defTabSz="779252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1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1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  <p:transition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</p:cSld>
  <p:clrMapOvr>
    <a:masterClrMapping/>
  </p:clrMapOvr>
  <p:transition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020000"/>
            <a:ext cx="9144000" cy="990000"/>
          </a:xfrm>
        </p:spPr>
        <p:txBody>
          <a:bodyPr tIns="153396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19314"/>
            <a:ext cx="9144000" cy="2960688"/>
          </a:xfrm>
        </p:spPr>
        <p:txBody>
          <a:bodyPr/>
          <a:lstStyle>
            <a:lvl1pPr marL="225929" indent="-225929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3A6DCFF-17F1-441B-8151-E0E2832CF14A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199999"/>
            <a:ext cx="9144000" cy="3900000"/>
          </a:xfrm>
        </p:spPr>
        <p:txBody>
          <a:bodyPr/>
          <a:lstStyle>
            <a:lvl1pPr marL="232693" indent="-232693">
              <a:defRPr baseline="0">
                <a:solidFill>
                  <a:schemeClr val="tx1"/>
                </a:solidFill>
              </a:defRPr>
            </a:lvl1pPr>
            <a:lvl2pPr marL="453211" indent="-150169">
              <a:defRPr>
                <a:solidFill>
                  <a:schemeClr val="tx1"/>
                </a:solidFill>
              </a:defRPr>
            </a:lvl2pPr>
            <a:lvl3pPr marL="685904" indent="-151521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988947" indent="-22187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221640" indent="-151521"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77B335F-67F5-4389-9B38-99311ED43AC3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>
            <a:lvl1pPr marL="608790" indent="-608790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26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751462"/>
            <a:ext cx="9144000" cy="335367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>
            <a:lvl1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7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5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6228" indent="-227282" algn="l" defTabSz="542500" rtl="0" eaLnBrk="0" fontAlgn="base" hangingPunct="0">
              <a:spcBef>
                <a:spcPct val="200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200001"/>
            <a:ext cx="9144000" cy="464561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2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7038CF5-8BC0-4E79-9901-AEF987351C00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66154" y="1200000"/>
            <a:ext cx="4320000" cy="386100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652308" y="1200000"/>
            <a:ext cx="4320000" cy="386100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957380B-0C36-4099-A87C-58A4C3054CF0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88970" y="1200000"/>
            <a:ext cx="4308297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baseline="0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8970" y="1744156"/>
            <a:ext cx="4308297" cy="329274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08260" y="1200000"/>
            <a:ext cx="4261470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708260" y="1744156"/>
            <a:ext cx="4261470" cy="329274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47A469-C500-4942-B49B-8A9E513CB9E1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689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191608" cy="10292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7719892" y="5254625"/>
            <a:ext cx="1431443" cy="2171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0679" tIns="38963" rIns="61358" bIns="38963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9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9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34362" y="5460199"/>
            <a:ext cx="1102306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A424D5F-FE0A-4D22-BF07-71196FAC20A9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6357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332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 lIns="77925" tIns="38963" rIns="77925" bIns="38963"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11A5B96-1896-4C52-8023-396ED1508D09}" type="datetime1">
              <a:rPr lang="sv-SE" smtClean="0"/>
              <a:pPr>
                <a:defRPr/>
              </a:pPr>
              <a:t>2017-05-30</a:t>
            </a:fld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332" y="1"/>
            <a:ext cx="3191608" cy="1029229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3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  <p:sldLayoutId id="2147483694" r:id="rId10"/>
  </p:sldLayoutIdLst>
  <p:transition>
    <p:wipe/>
  </p:transition>
  <p:hf hdr="0" ftr="0" dt="0"/>
  <p:txStyles>
    <p:titleStyle>
      <a:lvl1pPr marL="608790" indent="-608790" algn="ctr" defTabSz="779252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26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9987" indent="-229987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9975" indent="-142052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17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11496" indent="-151521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5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41484" indent="-150169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71471" indent="-150169" algn="l" defTabSz="608790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A6B0B-1AF6-46C1-864C-BE69C438FB6C}" type="datetime1">
              <a:rPr lang="sv-SE" smtClean="0"/>
              <a:pPr/>
              <a:t>2017-05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ransition>
    <p:wipe/>
  </p:transition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  <p:sldLayoutId id="2147483681" r:id="rId5"/>
  </p:sldLayoutIdLst>
  <p:transition>
    <p:wipe/>
  </p:transition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6.bin"/><Relationship Id="rId5" Type="http://schemas.openxmlformats.org/officeDocument/2006/relationships/oleObject" Target="../embeddings/oleObject5.bin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oleObject" Target="../embeddings/oleObject8.bin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1.bin"/><Relationship Id="rId5" Type="http://schemas.openxmlformats.org/officeDocument/2006/relationships/oleObject" Target="../embeddings/oleObject10.bin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hyperlink" Target="http://localhost:9001/hmc/hybris" TargetMode="Externa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9.bin"/><Relationship Id="rId5" Type="http://schemas.openxmlformats.org/officeDocument/2006/relationships/oleObject" Target="../embeddings/oleObject18.bin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9001/" TargetMode="Externa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1.png"/><Relationship Id="rId5" Type="http://schemas.openxmlformats.org/officeDocument/2006/relationships/oleObject" Target="../embeddings/oleObject21.bin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23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9001/store/eeyewear/en/?site=eeyewear" TargetMode="Externa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25.bin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1.png"/><Relationship Id="rId4" Type="http://schemas.openxmlformats.org/officeDocument/2006/relationships/package" Target="../embeddings/Microsoft_Office_Excel_Macro-Enabled_Worksheet1.xlsm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9001/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oleObject" Target="../embeddings/oleObject1.bin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5212"/>
            <a:ext cx="9144000" cy="864096"/>
          </a:xfrm>
        </p:spPr>
        <p:txBody>
          <a:bodyPr/>
          <a:lstStyle/>
          <a:p>
            <a:r>
              <a:rPr lang="en-US" i="1" dirty="0" err="1" smtClean="0"/>
              <a:t>eEyewear</a:t>
            </a:r>
            <a:r>
              <a:rPr lang="en-US" i="1" dirty="0" smtClean="0"/>
              <a:t> (</a:t>
            </a:r>
            <a:r>
              <a:rPr lang="en-US" i="1" dirty="0" err="1" smtClean="0"/>
              <a:t>eeyewear</a:t>
            </a:r>
            <a:r>
              <a:rPr lang="en-US" i="1" dirty="0" smtClean="0"/>
              <a:t>)</a:t>
            </a:r>
            <a:endParaRPr lang="en-US" i="1" dirty="0"/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417340"/>
            <a:ext cx="8388424" cy="3470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23528" y="1417341"/>
            <a:ext cx="8388424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30097" y="5390957"/>
            <a:ext cx="219051" cy="158377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2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0</a:t>
            </a:fld>
            <a:endParaRPr lang="en-US" sz="12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45719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sz="2400" dirty="0" smtClean="0">
                <a:latin typeface="Cambria Math" pitchFamily="18" charset="0"/>
                <a:ea typeface="Cambria Math" pitchFamily="18" charset="0"/>
              </a:rPr>
              <a:t> Core data Impex files  </a:t>
            </a:r>
            <a:endParaRPr lang="sv-SE" sz="2400" dirty="0">
              <a:latin typeface="Cambria Math" pitchFamily="18" charset="0"/>
              <a:ea typeface="Cambria Math" pitchFamily="18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755576" y="553244"/>
          <a:ext cx="8208911" cy="4152852"/>
        </p:xfrm>
        <a:graphic>
          <a:graphicData uri="http://schemas.openxmlformats.org/drawingml/2006/table">
            <a:tbl>
              <a:tblPr/>
              <a:tblGrid>
                <a:gridCol w="1002439"/>
                <a:gridCol w="1262990"/>
                <a:gridCol w="1114403"/>
                <a:gridCol w="3187297"/>
                <a:gridCol w="1641782"/>
              </a:tblGrid>
              <a:tr h="2538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Name of the Impex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File 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Description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Sample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Impex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Mandatory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Optional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7019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b="0" dirty="0">
                          <a:latin typeface="+mn-lt"/>
                          <a:ea typeface="Times New Roman"/>
                          <a:cs typeface="Arial" pitchFamily="34" charset="0"/>
                        </a:rPr>
                        <a:t>Store.impex</a:t>
                      </a:r>
                      <a:endParaRPr lang="en-IN" sz="900" b="0" dirty="0"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+mn-lt"/>
                          <a:ea typeface="Calibri"/>
                          <a:cs typeface="Times New Roman"/>
                        </a:rPr>
                        <a:t>This file contains store related information.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Catalog, currencies, net, storeUid, defaultCurrency, defaultLanguage, deliveryCountries, orderProcessCode, pickupInStoreMode, paymentProvider, promoGrp, languages, unitedKingdom, europeNotUK, </a:t>
                      </a:r>
                      <a:endParaRPr lang="en-US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promoGrp, checkoutFlowGroup</a:t>
                      </a:r>
                      <a:endParaRPr lang="en-US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07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b="0" dirty="0">
                          <a:latin typeface="+mn-lt"/>
                          <a:ea typeface="Times New Roman"/>
                        </a:rPr>
                        <a:t>Store-en.impex</a:t>
                      </a:r>
                      <a:endParaRPr lang="en-IN" sz="900" b="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+mn-lt"/>
                          <a:ea typeface="Calibri"/>
                          <a:cs typeface="Times New Roman"/>
                        </a:rPr>
                        <a:t>This file </a:t>
                      </a:r>
                      <a:r>
                        <a:rPr lang="en-US" sz="900" dirty="0" smtClean="0">
                          <a:latin typeface="+mn-lt"/>
                          <a:ea typeface="Calibri"/>
                          <a:cs typeface="Times New Roman"/>
                        </a:rPr>
                        <a:t>adds English</a:t>
                      </a:r>
                      <a:r>
                        <a:rPr lang="en-US" sz="900" dirty="0">
                          <a:latin typeface="+mn-lt"/>
                          <a:ea typeface="Calibri"/>
                          <a:cs typeface="Times New Roman"/>
                        </a:rPr>
                        <a:t> localized attribute values for the basic store items.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Lang, storeUid</a:t>
                      </a:r>
                      <a:endParaRPr lang="en-US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N/A</a:t>
                      </a: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b="0" dirty="0">
                          <a:latin typeface="+mn-lt"/>
                          <a:ea typeface="Times New Roman"/>
                        </a:rPr>
                        <a:t>Site.impex</a:t>
                      </a:r>
                      <a:endParaRPr lang="en-IN" sz="900" b="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+mn-lt"/>
                          <a:ea typeface="Calibri"/>
                          <a:cs typeface="Times New Roman"/>
                        </a:rPr>
                        <a:t>This file adds basic site information to the configuration of the </a:t>
                      </a:r>
                      <a:r>
                        <a:rPr lang="en-US" sz="900" dirty="0" err="1" smtClean="0">
                          <a:latin typeface="+mn-lt"/>
                          <a:ea typeface="Calibri"/>
                          <a:cs typeface="Times New Roman"/>
                        </a:rPr>
                        <a:t>eeyewear</a:t>
                      </a:r>
                      <a:r>
                        <a:rPr lang="en-US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900" dirty="0" smtClean="0">
                          <a:latin typeface="+mn-lt"/>
                          <a:ea typeface="Calibri"/>
                          <a:cs typeface="Times New Roman"/>
                        </a:rPr>
                        <a:t>shop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productCatalog, contentCatalog, contentCV, defaultLanguage, storeUid, siteUid, siteMapUrlLimitPerFile, promoGrp</a:t>
                      </a:r>
                      <a:endParaRPr lang="en-US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siteMapLangCur, siteMapPage, customSiteMapUrls</a:t>
                      </a:r>
                      <a:endParaRPr lang="en-US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b="0" dirty="0">
                          <a:latin typeface="+mn-lt"/>
                          <a:ea typeface="Times New Roman"/>
                        </a:rPr>
                        <a:t>Site_en.impex</a:t>
                      </a:r>
                      <a:endParaRPr lang="en-IN" sz="900" b="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+mn-lt"/>
                          <a:ea typeface="Times New Roman"/>
                        </a:rPr>
                        <a:t>Provide English-language localization for the </a:t>
                      </a:r>
                      <a:r>
                        <a:rPr lang="en-US" sz="900" dirty="0" err="1" smtClean="0">
                          <a:latin typeface="+mn-lt"/>
                          <a:ea typeface="Times New Roman"/>
                        </a:rPr>
                        <a:t>eeyewear</a:t>
                      </a:r>
                      <a:r>
                        <a:rPr lang="en-US" sz="900" baseline="0" dirty="0" smtClean="0">
                          <a:latin typeface="+mn-lt"/>
                          <a:ea typeface="Times New Roman"/>
                        </a:rPr>
                        <a:t> </a:t>
                      </a:r>
                      <a:r>
                        <a:rPr lang="en-US" sz="900" dirty="0" smtClean="0">
                          <a:latin typeface="+mn-lt"/>
                          <a:ea typeface="Times New Roman"/>
                        </a:rPr>
                        <a:t>CMSSite</a:t>
                      </a:r>
                      <a:r>
                        <a:rPr lang="en-US" sz="900" dirty="0">
                          <a:latin typeface="+mn-lt"/>
                          <a:ea typeface="Times New Roman"/>
                        </a:rPr>
                        <a:t>.</a:t>
                      </a: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Lang</a:t>
                      </a: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N/A</a:t>
                      </a: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68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b="0" dirty="0">
                          <a:latin typeface="+mn-lt"/>
                          <a:ea typeface="Times New Roman"/>
                        </a:rPr>
                        <a:t>Solr.impex</a:t>
                      </a:r>
                      <a:endParaRPr lang="en-IN" sz="900" b="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latin typeface="+mn-lt"/>
                          <a:ea typeface="Times New Roman"/>
                        </a:rPr>
                        <a:t>Update the basic solr configuration, including information for ranges, facets, index names, etc.</a:t>
                      </a: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Prefix, productCatalog, catalogVersions, serverConfigName, indexConfigName, searchConfigName, facetSearchConfigName, facetSearchConfigDescription, searchIndexNamePrefix, solrIndexedType, indexBaseSite, indexLanguages</a:t>
                      </a:r>
                      <a:endParaRPr lang="en-US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900" kern="1200" dirty="0" smtClean="0">
                          <a:effectLst/>
                          <a:latin typeface="+mn-lt"/>
                        </a:rPr>
                        <a:t>solrIndexedType</a:t>
                      </a:r>
                      <a:endParaRPr lang="en-IN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Content Placeholder 2"/>
          <p:cNvSpPr txBox="1">
            <a:spLocks/>
          </p:cNvSpPr>
          <p:nvPr/>
        </p:nvSpPr>
        <p:spPr>
          <a:xfrm>
            <a:off x="-396552" y="913284"/>
            <a:ext cx="7677496" cy="374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kumimoji="0" lang="sv-SE" sz="16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3059832" y="985292"/>
          <a:ext cx="977900" cy="648072"/>
        </p:xfrm>
        <a:graphic>
          <a:graphicData uri="http://schemas.openxmlformats.org/presentationml/2006/ole">
            <p:oleObj spid="_x0000_s84265" name="Packager Shell Object" r:id="rId3" imgW="978120" imgH="685800" progId="Package">
              <p:embed/>
            </p:oleObj>
          </a:graphicData>
        </a:graphic>
      </p:graphicFrame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3059832" y="1849388"/>
          <a:ext cx="1125984" cy="685800"/>
        </p:xfrm>
        <a:graphic>
          <a:graphicData uri="http://schemas.openxmlformats.org/presentationml/2006/ole">
            <p:oleObj spid="_x0000_s84266" name="Packager Shell Object" r:id="rId4" imgW="1270440" imgH="685800" progId="Package">
              <p:embed/>
            </p:oleObj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/>
        </p:nvGraphicFramePr>
        <p:xfrm>
          <a:off x="3131840" y="2569468"/>
          <a:ext cx="850900" cy="685800"/>
        </p:xfrm>
        <a:graphic>
          <a:graphicData uri="http://schemas.openxmlformats.org/presentationml/2006/ole">
            <p:oleObj spid="_x0000_s84267" name="Packager Shell Object" r:id="rId5" imgW="851040" imgH="685800" progId="Package">
              <p:embed/>
            </p:oleObj>
          </a:graphicData>
        </a:graphic>
      </p:graphicFrame>
      <p:graphicFrame>
        <p:nvGraphicFramePr>
          <p:cNvPr id="16" name="Object 15"/>
          <p:cNvGraphicFramePr>
            <a:graphicFrameLocks noChangeAspect="1"/>
          </p:cNvGraphicFramePr>
          <p:nvPr/>
        </p:nvGraphicFramePr>
        <p:xfrm>
          <a:off x="2987824" y="3361556"/>
          <a:ext cx="1143000" cy="685800"/>
        </p:xfrm>
        <a:graphic>
          <a:graphicData uri="http://schemas.openxmlformats.org/presentationml/2006/ole">
            <p:oleObj spid="_x0000_s84268" name="Packager Shell Object" r:id="rId6" imgW="1143360" imgH="685800" progId="Package">
              <p:embed/>
            </p:oleObj>
          </a:graphicData>
        </a:graphic>
      </p:graphicFrame>
      <p:graphicFrame>
        <p:nvGraphicFramePr>
          <p:cNvPr id="17" name="Object 16"/>
          <p:cNvGraphicFramePr>
            <a:graphicFrameLocks noChangeAspect="1"/>
          </p:cNvGraphicFramePr>
          <p:nvPr/>
        </p:nvGraphicFramePr>
        <p:xfrm>
          <a:off x="3131840" y="4081636"/>
          <a:ext cx="863600" cy="685800"/>
        </p:xfrm>
        <a:graphic>
          <a:graphicData uri="http://schemas.openxmlformats.org/presentationml/2006/ole">
            <p:oleObj spid="_x0000_s84269" name="Packager Shell Object" r:id="rId7" imgW="86364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01977" y="5344374"/>
            <a:ext cx="219051" cy="158377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2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1</a:t>
            </a:fld>
            <a:endParaRPr lang="en-US" sz="12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08520" y="-382860"/>
            <a:ext cx="9144000" cy="990000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00034" y="481236"/>
            <a:ext cx="8320438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sv-SE" sz="900" b="1" dirty="0" smtClean="0">
                <a:latin typeface="Calibri" pitchFamily="34" charset="0"/>
                <a:cs typeface="Calibri" pitchFamily="34" charset="0"/>
              </a:rPr>
              <a:t>Coredata/eeyewear Content Catalog:                                                                                                                                                                  coredata/ eeyewear Product Catalog: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sv-SE" sz="900" dirty="0" smtClean="0">
              <a:latin typeface="Calibri" pitchFamily="34" charset="0"/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67542" y="757762"/>
          <a:ext cx="4896545" cy="4578914"/>
        </p:xfrm>
        <a:graphic>
          <a:graphicData uri="http://schemas.openxmlformats.org/drawingml/2006/table">
            <a:tbl>
              <a:tblPr/>
              <a:tblGrid>
                <a:gridCol w="979309"/>
                <a:gridCol w="979309"/>
                <a:gridCol w="979309"/>
                <a:gridCol w="979309"/>
                <a:gridCol w="979309"/>
              </a:tblGrid>
              <a:tr h="2922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Name o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f the Impex 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File 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Description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Sample Impex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Mandatory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Optional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4881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atalog.impex</a:t>
                      </a:r>
                      <a:endParaRPr lang="en-IN" sz="9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The </a:t>
                      </a:r>
                      <a:r>
                        <a:rPr lang="en-US" sz="900" dirty="0" err="1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eeyewear</a:t>
                      </a:r>
                      <a:r>
                        <a:rPr lang="en-US" sz="90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en-US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 </a:t>
                      </a:r>
                      <a:r>
                        <a:rPr lang="en-US" sz="9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atalog.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Catalog ,lang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atalog_en.impex</a:t>
                      </a:r>
                      <a:endParaRPr lang="en-IN" sz="9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Here edit the related localization.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Catalog ,lang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20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ms-content.impex</a:t>
                      </a:r>
                      <a:endParaRPr lang="en-IN" sz="9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Now the Master CMS content, which defines all of the content slots for the templates, naming the templates.It does not rely on any specific product/category content.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Catalog, contentCV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ageTemplate, frontendTemplateName, ContentSlotName, SearchResultsGridPageTemplate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351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9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ms-content_en.impex</a:t>
                      </a:r>
                      <a:endParaRPr lang="en-IN" sz="9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he related localized attributes values - again check the file content and </a:t>
                      </a:r>
                      <a:r>
                        <a:rPr lang="en-US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rename </a:t>
                      </a:r>
                      <a:r>
                        <a:rPr lang="en-US" sz="9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he </a:t>
                      </a:r>
                      <a:r>
                        <a:rPr lang="en-US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</a:t>
                      </a:r>
                      <a:r>
                        <a:rPr lang="en-US" sz="900" baseline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as</a:t>
                      </a:r>
                      <a:r>
                        <a:rPr lang="en-US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eeyewearContent Catalog.</a:t>
                      </a:r>
                      <a:endParaRPr lang="en-IN" sz="9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ntentCatalog</a:t>
                      </a:r>
                    </a:p>
                    <a:p>
                      <a:endParaRPr lang="en-IN" sz="9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ntentPage</a:t>
                      </a:r>
                      <a:endParaRPr lang="en-IN" sz="9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/>
        </p:nvGraphicFramePr>
        <p:xfrm>
          <a:off x="5508103" y="769268"/>
          <a:ext cx="3491880" cy="4536504"/>
        </p:xfrm>
        <a:graphic>
          <a:graphicData uri="http://schemas.openxmlformats.org/drawingml/2006/table">
            <a:tbl>
              <a:tblPr/>
              <a:tblGrid>
                <a:gridCol w="698376"/>
                <a:gridCol w="625059"/>
                <a:gridCol w="771693"/>
                <a:gridCol w="698376"/>
                <a:gridCol w="698376"/>
              </a:tblGrid>
              <a:tr h="864096">
                <a:tc>
                  <a:txBody>
                    <a:bodyPr/>
                    <a:lstStyle/>
                    <a:p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ame of the Impex File</a:t>
                      </a:r>
                      <a:endParaRPr lang="en-IN" sz="900" b="1" kern="12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scription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ample Impex 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andatory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ptional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1440161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Update the product catalog impex file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Catalog, languages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IdCatalogVersion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2247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_en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o the same as above for the localized catalog data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Catalog</a:t>
                      </a:r>
                      <a:r>
                        <a:rPr lang="en-IN" sz="900" b="1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</a:t>
                      </a:r>
                    </a:p>
                    <a:p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lang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/A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2411760" y="1129308"/>
          <a:ext cx="1008112" cy="432048"/>
        </p:xfrm>
        <a:graphic>
          <a:graphicData uri="http://schemas.openxmlformats.org/presentationml/2006/ole">
            <p:oleObj spid="_x0000_s86258" name="Packager Shell Object" r:id="rId3" imgW="1181520" imgH="685800" progId="Package">
              <p:embed/>
            </p:oleObj>
          </a:graphicData>
        </a:graphic>
      </p:graphicFrame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2339752" y="1705372"/>
          <a:ext cx="1165463" cy="542543"/>
        </p:xfrm>
        <a:graphic>
          <a:graphicData uri="http://schemas.openxmlformats.org/presentationml/2006/ole">
            <p:oleObj spid="_x0000_s86259" name="Packager Shell Object" r:id="rId4" imgW="1473480" imgH="685800" progId="Package">
              <p:embed/>
            </p:oleObj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/>
        </p:nvGraphicFramePr>
        <p:xfrm>
          <a:off x="2555776" y="2822713"/>
          <a:ext cx="792088" cy="538843"/>
        </p:xfrm>
        <a:graphic>
          <a:graphicData uri="http://schemas.openxmlformats.org/presentationml/2006/ole">
            <p:oleObj spid="_x0000_s86260" name="Packager Shell Object" r:id="rId5" imgW="1651320" imgH="685800" progId="Package">
              <p:embed/>
            </p:oleObj>
          </a:graphicData>
        </a:graphic>
      </p:graphicFrame>
      <p:graphicFrame>
        <p:nvGraphicFramePr>
          <p:cNvPr id="16" name="Object 15"/>
          <p:cNvGraphicFramePr>
            <a:graphicFrameLocks noChangeAspect="1"/>
          </p:cNvGraphicFramePr>
          <p:nvPr/>
        </p:nvGraphicFramePr>
        <p:xfrm>
          <a:off x="2678918" y="4467639"/>
          <a:ext cx="596938" cy="406086"/>
        </p:xfrm>
        <a:graphic>
          <a:graphicData uri="http://schemas.openxmlformats.org/presentationml/2006/ole">
            <p:oleObj spid="_x0000_s86261" name="Packager Shell Object" r:id="rId6" imgW="1930680" imgH="685800" progId="Package">
              <p:embed/>
            </p:oleObj>
          </a:graphicData>
        </a:graphic>
      </p:graphicFrame>
      <p:graphicFrame>
        <p:nvGraphicFramePr>
          <p:cNvPr id="17" name="Object 16"/>
          <p:cNvGraphicFramePr>
            <a:graphicFrameLocks noChangeAspect="1"/>
          </p:cNvGraphicFramePr>
          <p:nvPr/>
        </p:nvGraphicFramePr>
        <p:xfrm>
          <a:off x="6732240" y="2065412"/>
          <a:ext cx="965076" cy="560367"/>
        </p:xfrm>
        <a:graphic>
          <a:graphicData uri="http://schemas.openxmlformats.org/presentationml/2006/ole">
            <p:oleObj spid="_x0000_s86262" name="Packager Shell Object" r:id="rId7" imgW="1181520" imgH="685800" progId="Package">
              <p:embed/>
            </p:oleObj>
          </a:graphicData>
        </a:graphic>
      </p:graphicFrame>
      <p:graphicFrame>
        <p:nvGraphicFramePr>
          <p:cNvPr id="19" name="Object 18"/>
          <p:cNvGraphicFramePr>
            <a:graphicFrameLocks noChangeAspect="1"/>
          </p:cNvGraphicFramePr>
          <p:nvPr/>
        </p:nvGraphicFramePr>
        <p:xfrm>
          <a:off x="6876256" y="3793604"/>
          <a:ext cx="568865" cy="541784"/>
        </p:xfrm>
        <a:graphic>
          <a:graphicData uri="http://schemas.openxmlformats.org/presentationml/2006/ole">
            <p:oleObj spid="_x0000_s86263" name="Packager Shell Object" r:id="rId8" imgW="147348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01977" y="5345079"/>
            <a:ext cx="219051" cy="156966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2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2</a:t>
            </a:fld>
            <a:endParaRPr lang="en-US" sz="12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45719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sz="2400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sz="2400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67544" y="337220"/>
            <a:ext cx="8136904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IN" sz="900" dirty="0" smtClean="0">
                <a:cs typeface="Times New Roman" pitchFamily="18" charset="0"/>
              </a:rPr>
              <a:t>For creating the </a:t>
            </a:r>
            <a:r>
              <a:rPr lang="en-IN" sz="900" dirty="0" err="1" smtClean="0">
                <a:cs typeface="Times New Roman" pitchFamily="18" charset="0"/>
              </a:rPr>
              <a:t>eeyewear</a:t>
            </a:r>
            <a:r>
              <a:rPr lang="en-IN" sz="900" dirty="0" smtClean="0">
                <a:cs typeface="Times New Roman" pitchFamily="18" charset="0"/>
              </a:rPr>
              <a:t> </a:t>
            </a:r>
            <a:r>
              <a:rPr lang="en-IN" sz="900" dirty="0" smtClean="0">
                <a:cs typeface="Times New Roman" pitchFamily="18" charset="0"/>
              </a:rPr>
              <a:t>b2b </a:t>
            </a:r>
            <a:r>
              <a:rPr lang="en-IN" sz="900" dirty="0" smtClean="0">
                <a:cs typeface="Times New Roman" pitchFamily="18" charset="0"/>
              </a:rPr>
              <a:t>site using the core impexes, 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IN" sz="900" dirty="0" smtClean="0">
                <a:cs typeface="Times New Roman" pitchFamily="18" charset="0"/>
              </a:rPr>
              <a:t>     we have to update the project data under eeyewearinitialdata extension.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9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900" dirty="0" smtClean="0">
                <a:cs typeface="Times New Roman" pitchFamily="18" charset="0"/>
              </a:rPr>
              <a:t>Once imported the data, you can go to the </a:t>
            </a:r>
            <a:r>
              <a:rPr lang="en-US" sz="900" dirty="0" smtClean="0">
                <a:cs typeface="Times New Roman" pitchFamily="18" charset="0"/>
                <a:hlinkClick r:id="rId3"/>
              </a:rPr>
              <a:t>hmc </a:t>
            </a:r>
            <a:r>
              <a:rPr lang="en-US" sz="900" dirty="0" smtClean="0">
                <a:cs typeface="Times New Roman" pitchFamily="18" charset="0"/>
              </a:rPr>
              <a:t>and look in the Base Commerce section that we have a new store called 'eeyewear' and it has a website assigned with the same name.</a:t>
            </a:r>
            <a:r>
              <a:rPr lang="en-IN" sz="900" dirty="0" smtClean="0">
                <a:cs typeface="Times New Roman" pitchFamily="18" charset="0"/>
              </a:rPr>
              <a:t> The Hybris Management Console then reflects the changes and a new store called eeyewear appears among base stores.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1200" dirty="0" smtClean="0">
                <a:ea typeface="Cambria Math" pitchFamily="18" charset="0"/>
              </a:rPr>
              <a:t> 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ea typeface="Cambria Math" pitchFamily="18" charset="0"/>
              </a:rPr>
              <a:t>Sample data Impex Files</a:t>
            </a:r>
            <a:endParaRPr lang="en-IN" sz="1200" b="1" dirty="0" smtClean="0">
              <a:solidFill>
                <a:schemeClr val="tx2">
                  <a:lumMod val="75000"/>
                </a:schemeClr>
              </a:solidFill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900" dirty="0" smtClean="0">
                <a:cs typeface="Arial" pitchFamily="34" charset="0"/>
              </a:rPr>
              <a:t>Product categories, media, prices, stocklevels and warehouses are defined in these Impex files</a:t>
            </a:r>
          </a:p>
          <a:p>
            <a:pPr marL="74295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900" dirty="0" smtClean="0">
                <a:cs typeface="Arial" pitchFamily="34" charset="0"/>
              </a:rPr>
              <a:t>Product</a:t>
            </a:r>
            <a:r>
              <a:rPr lang="en-US" sz="900" b="1" dirty="0" smtClean="0">
                <a:cs typeface="Arial" pitchFamily="34" charset="0"/>
              </a:rPr>
              <a:t> </a:t>
            </a:r>
            <a:r>
              <a:rPr lang="en-US" sz="900" dirty="0" smtClean="0">
                <a:cs typeface="Arial" pitchFamily="34" charset="0"/>
              </a:rPr>
              <a:t>categories:-</a:t>
            </a:r>
            <a:endParaRPr lang="sv-SE" sz="900" dirty="0" smtClean="0">
              <a:cs typeface="Arial" pitchFamily="34" charset="0"/>
            </a:endParaRPr>
          </a:p>
          <a:p>
            <a:pPr fontAlgn="t"/>
            <a:endParaRPr lang="en-IN" sz="1600" dirty="0" smtClean="0"/>
          </a:p>
          <a:p>
            <a:pPr fontAlgn="t"/>
            <a:endParaRPr lang="en-IN" sz="1600" dirty="0" smtClean="0"/>
          </a:p>
          <a:p>
            <a:pPr fontAlgn="t"/>
            <a:endParaRPr lang="en-IN" sz="1600" dirty="0" smtClean="0"/>
          </a:p>
          <a:p>
            <a:pPr fontAlgn="t"/>
            <a:endParaRPr lang="en-IN" sz="1600" dirty="0" smtClean="0"/>
          </a:p>
          <a:p>
            <a:pPr fontAlgn="t"/>
            <a:endParaRPr lang="en-IN" sz="1600" dirty="0" smtClean="0"/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Calibri" pitchFamily="34" charset="0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403648" y="3241516"/>
          <a:ext cx="7560840" cy="192024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512168"/>
                <a:gridCol w="1512168"/>
                <a:gridCol w="1512168"/>
                <a:gridCol w="1512168"/>
                <a:gridCol w="1512168"/>
              </a:tblGrid>
              <a:tr h="372652"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Nam</a:t>
                      </a:r>
                      <a:r>
                        <a:rPr lang="en-US" sz="900" baseline="0" dirty="0" smtClean="0"/>
                        <a:t>e of the Impex File</a:t>
                      </a:r>
                      <a:endParaRPr lang="en-IN" sz="900" dirty="0" smtClean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Description</a:t>
                      </a:r>
                      <a:endParaRPr lang="en-IN" sz="900" dirty="0" smtClean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Sample Impex Fil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Mandatory</a:t>
                      </a:r>
                      <a:r>
                        <a:rPr lang="en-IN" sz="900" baseline="0" dirty="0" smtClean="0"/>
                        <a:t>  Attributes</a:t>
                      </a:r>
                      <a:endParaRPr lang="en-IN" sz="900" dirty="0" smtClean="0"/>
                    </a:p>
                    <a:p>
                      <a:endParaRPr lang="en-US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Optional</a:t>
                      </a:r>
                      <a:r>
                        <a:rPr lang="en-IN" sz="900" baseline="0" dirty="0" smtClean="0"/>
                        <a:t> Attributes</a:t>
                      </a:r>
                      <a:endParaRPr lang="en-IN" sz="900" dirty="0" smtClean="0"/>
                    </a:p>
                    <a:p>
                      <a:endParaRPr lang="en-US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697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/>
                        <a:t>categories.impex</a:t>
                      </a:r>
                      <a:endParaRPr lang="en-IN" sz="9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/>
                        <a:t>Imports Categories for your products.</a:t>
                      </a:r>
                      <a:endParaRPr lang="en-IN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productCatalog, productCatalogName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catalogVersion, supercategories, categories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  <a:tr h="5394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/>
                        <a:t>categories_en.impex</a:t>
                      </a:r>
                      <a:endParaRPr lang="en-IN" sz="9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/>
                        <a:t>Imports localized names for categories.</a:t>
                      </a:r>
                      <a:endParaRPr lang="en-IN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productCatalog, productCatalogName, lang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/>
                        <a:t>catalogVersion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7624" y="1633364"/>
            <a:ext cx="1368152" cy="1110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31840" y="1561356"/>
            <a:ext cx="5184576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240" name="Picture 8" descr="D:\Users\shalingu\Desktop\Capture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1417340"/>
            <a:ext cx="5256583" cy="1584176"/>
          </a:xfrm>
          <a:prstGeom prst="rect">
            <a:avLst/>
          </a:prstGeom>
          <a:noFill/>
        </p:spPr>
      </p:pic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4572000" y="3721596"/>
          <a:ext cx="1224136" cy="549181"/>
        </p:xfrm>
        <a:graphic>
          <a:graphicData uri="http://schemas.openxmlformats.org/presentationml/2006/ole">
            <p:oleObj spid="_x0000_s95241" name="Packager Shell Object" showAsIcon="1" r:id="rId7" imgW="1422720" imgH="685800" progId="Package">
              <p:embed/>
            </p:oleObj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/>
        </p:nvGraphicFramePr>
        <p:xfrm>
          <a:off x="4572000" y="4441676"/>
          <a:ext cx="1354460" cy="541784"/>
        </p:xfrm>
        <a:graphic>
          <a:graphicData uri="http://schemas.openxmlformats.org/presentationml/2006/ole">
            <p:oleObj spid="_x0000_s95242" name="Packager Shell Object" r:id="rId8" imgW="1715040" imgH="685800" progId="Package">
              <p:embed/>
            </p:oleObj>
          </a:graphicData>
        </a:graphic>
      </p:graphicFrame>
      <p:pic>
        <p:nvPicPr>
          <p:cNvPr id="95243" name="Picture 11" descr="D:\Users\shalingu\Desktop\12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624" y="1561356"/>
            <a:ext cx="1656184" cy="1224136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244700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3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45719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611560" y="409228"/>
            <a:ext cx="8001056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Defining  Products:-</a:t>
            </a:r>
            <a:endParaRPr lang="sv-SE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1259631" y="3649588"/>
          <a:ext cx="6264695" cy="685800"/>
        </p:xfrm>
        <a:graphic>
          <a:graphicData uri="http://schemas.openxmlformats.org/drawingml/2006/table">
            <a:tbl>
              <a:tblPr/>
              <a:tblGrid>
                <a:gridCol w="1252939"/>
                <a:gridCol w="1252939"/>
                <a:gridCol w="1252939"/>
                <a:gridCol w="1252939"/>
                <a:gridCol w="1252939"/>
              </a:tblGrid>
              <a:tr h="0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Name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 of the Impex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Calibri"/>
                        </a:rPr>
                        <a:t>Description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Sample Impex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Mandatory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</a:rPr>
                        <a:t>Optional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  <a:ea typeface="Times New Roman"/>
                          <a:cs typeface="Calibri"/>
                        </a:rPr>
                        <a:t>products-prices.impex</a:t>
                      </a:r>
                      <a:endParaRPr lang="en-IN" sz="900" b="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  <a:ea typeface="Times New Roman"/>
                          <a:cs typeface="Calibri"/>
                        </a:rPr>
                        <a:t>Imports prices of the products.</a:t>
                      </a:r>
                      <a:endParaRPr lang="en-IN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+mn-lt"/>
                        <a:ea typeface="Times New Roman"/>
                      </a:endParaRPr>
                    </a:p>
                    <a:p>
                      <a:endParaRPr lang="en-IN" sz="900" b="1" dirty="0" smtClean="0">
                        <a:latin typeface="+mn-lt"/>
                        <a:ea typeface="Times New Roman"/>
                      </a:endParaRPr>
                    </a:p>
                    <a:p>
                      <a:endParaRPr lang="en-IN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latin typeface="+mn-lt"/>
                        </a:rPr>
                        <a:t>productCatalog</a:t>
                      </a:r>
                      <a:endParaRPr lang="en-IN" sz="900" b="1" dirty="0" smtClean="0">
                        <a:latin typeface="+mn-lt"/>
                        <a:ea typeface="Times New Roman"/>
                      </a:endParaRPr>
                    </a:p>
                    <a:p>
                      <a:endParaRPr lang="en-IN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latin typeface="+mn-lt"/>
                          <a:ea typeface="Times New Roman"/>
                        </a:rPr>
                        <a:t>N/A</a:t>
                      </a:r>
                      <a:endParaRPr lang="en-IN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Content Placeholder 2"/>
          <p:cNvSpPr txBox="1">
            <a:spLocks/>
          </p:cNvSpPr>
          <p:nvPr/>
        </p:nvSpPr>
        <p:spPr>
          <a:xfrm>
            <a:off x="714348" y="2714624"/>
            <a:ext cx="8001056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latin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latin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Defining </a:t>
            </a:r>
            <a:r>
              <a:rPr lang="sv-SE" sz="1400" dirty="0" smtClean="0">
                <a:latin typeface="Times New Roman" pitchFamily="18" charset="0"/>
                <a:cs typeface="Times New Roman" pitchFamily="18" charset="0"/>
              </a:rPr>
              <a:t>product prices:-</a:t>
            </a:r>
            <a:endParaRPr kumimoji="0" lang="sv-SE" sz="1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642910" y="3757812"/>
            <a:ext cx="8001056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lang="sv-SE" sz="1300" b="1" dirty="0" smtClean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1403648" y="769268"/>
          <a:ext cx="6224775" cy="2255520"/>
        </p:xfrm>
        <a:graphic>
          <a:graphicData uri="http://schemas.openxmlformats.org/drawingml/2006/table">
            <a:tbl>
              <a:tblPr/>
              <a:tblGrid>
                <a:gridCol w="1244955"/>
                <a:gridCol w="1244955"/>
                <a:gridCol w="1244955"/>
                <a:gridCol w="1244955"/>
                <a:gridCol w="1244955"/>
              </a:tblGrid>
              <a:tr h="0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ame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of the Impex  File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scription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ample Impex File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andatory</a:t>
                      </a:r>
                      <a:r>
                        <a:rPr lang="en-IN" sz="11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Attributes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ptional Attributes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s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mports </a:t>
                      </a:r>
                      <a:r>
                        <a:rPr lang="en-US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s to the store </a:t>
                      </a:r>
                      <a:r>
                        <a:rPr lang="en-US" sz="900" b="0" baseline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to sell to the users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roductCatalog, productCatalogName, lang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Version, supercategories, baseProduct, approved, taxGroup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s-media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mport product medias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roductCatalog, </a:t>
                      </a:r>
                      <a:r>
                        <a:rPr lang="en-IN" sz="9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roductCatalogName</a:t>
                      </a: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storeName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Version, media, picture, detail, galleryImages, data_sheet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536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s_en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mports localized attributes of the products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roductCatalog, productCatalogName, lang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Version</a:t>
                      </a:r>
                      <a:endParaRPr lang="en-IN" sz="9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1866" name="Object 10"/>
          <p:cNvGraphicFramePr>
            <a:graphicFrameLocks noChangeAspect="1"/>
          </p:cNvGraphicFramePr>
          <p:nvPr/>
        </p:nvGraphicFramePr>
        <p:xfrm>
          <a:off x="3923928" y="1129308"/>
          <a:ext cx="1171575" cy="614363"/>
        </p:xfrm>
        <a:graphic>
          <a:graphicData uri="http://schemas.openxmlformats.org/presentationml/2006/ole">
            <p:oleObj spid="_x0000_s121866" name="Packager Shell Object" showAsIcon="1" r:id="rId3" imgW="1308240" imgH="685800" progId="Package">
              <p:embed/>
            </p:oleObj>
          </a:graphicData>
        </a:graphic>
      </p:graphicFrame>
      <p:graphicFrame>
        <p:nvGraphicFramePr>
          <p:cNvPr id="121867" name="Object 11"/>
          <p:cNvGraphicFramePr>
            <a:graphicFrameLocks noChangeAspect="1"/>
          </p:cNvGraphicFramePr>
          <p:nvPr/>
        </p:nvGraphicFramePr>
        <p:xfrm>
          <a:off x="3851920" y="1921396"/>
          <a:ext cx="1343025" cy="503237"/>
        </p:xfrm>
        <a:graphic>
          <a:graphicData uri="http://schemas.openxmlformats.org/presentationml/2006/ole">
            <p:oleObj spid="_x0000_s121867" name="Packager Shell Object" showAsIcon="1" r:id="rId4" imgW="1918080" imgH="685800" progId="Package">
              <p:embed/>
            </p:oleObj>
          </a:graphicData>
        </a:graphic>
      </p:graphicFrame>
      <p:graphicFrame>
        <p:nvGraphicFramePr>
          <p:cNvPr id="121868" name="Object 12"/>
          <p:cNvGraphicFramePr>
            <a:graphicFrameLocks noChangeAspect="1"/>
          </p:cNvGraphicFramePr>
          <p:nvPr/>
        </p:nvGraphicFramePr>
        <p:xfrm>
          <a:off x="3851920" y="2497460"/>
          <a:ext cx="1368425" cy="585788"/>
        </p:xfrm>
        <a:graphic>
          <a:graphicData uri="http://schemas.openxmlformats.org/presentationml/2006/ole">
            <p:oleObj spid="_x0000_s121868" name="Packager Shell Object" showAsIcon="1" r:id="rId5" imgW="1600560" imgH="685800" progId="Package">
              <p:embed/>
            </p:oleObj>
          </a:graphicData>
        </a:graphic>
      </p:graphicFrame>
      <p:graphicFrame>
        <p:nvGraphicFramePr>
          <p:cNvPr id="121870" name="Object 14"/>
          <p:cNvGraphicFramePr>
            <a:graphicFrameLocks noChangeAspect="1"/>
          </p:cNvGraphicFramePr>
          <p:nvPr/>
        </p:nvGraphicFramePr>
        <p:xfrm>
          <a:off x="3779838" y="4010025"/>
          <a:ext cx="1287462" cy="469900"/>
        </p:xfrm>
        <a:graphic>
          <a:graphicData uri="http://schemas.openxmlformats.org/presentationml/2006/ole">
            <p:oleObj spid="_x0000_s121870" name="Packager Shell Object" showAsIcon="1" r:id="rId6" imgW="187992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244700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4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481236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00034" y="697260"/>
            <a:ext cx="800105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Defining stock levels:-</a:t>
            </a:r>
            <a:endParaRPr kumimoji="0" lang="sv-SE" sz="12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714348" y="1928806"/>
            <a:ext cx="8001056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Calibri" pitchFamily="34" charset="0"/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Assigning warehouse to base store:-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1115616" y="1057300"/>
          <a:ext cx="7488830" cy="1005840"/>
        </p:xfrm>
        <a:graphic>
          <a:graphicData uri="http://schemas.openxmlformats.org/drawingml/2006/table">
            <a:tbl>
              <a:tblPr/>
              <a:tblGrid>
                <a:gridCol w="1497766"/>
                <a:gridCol w="1497766"/>
                <a:gridCol w="1497766"/>
                <a:gridCol w="1497766"/>
                <a:gridCol w="1497766"/>
              </a:tblGrid>
              <a:tr h="264029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ame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of the Impex File 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scription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ample Impex File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andatory Attributes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ptional Attributes</a:t>
                      </a:r>
                      <a:endParaRPr lang="en-IN" sz="11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528059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roducts-stocklevels.impex</a:t>
                      </a:r>
                      <a:endParaRPr lang="en-IN" sz="11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mports warehouse stocklevels for the products.</a:t>
                      </a:r>
                      <a:endParaRPr lang="en-IN" sz="11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11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1100" b="1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endParaRPr lang="en-IN" sz="11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productCatalog, productCatalogName, ,</a:t>
                      </a:r>
                      <a:r>
                        <a:rPr lang="en-IN" sz="11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vendor</a:t>
                      </a:r>
                    </a:p>
                    <a:p>
                      <a:endParaRPr lang="en-IN" sz="11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atalogVersion</a:t>
                      </a:r>
                      <a:endParaRPr lang="en-IN" sz="11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1115616" y="2497460"/>
          <a:ext cx="7488830" cy="1080120"/>
        </p:xfrm>
        <a:graphic>
          <a:graphicData uri="http://schemas.openxmlformats.org/drawingml/2006/table">
            <a:tbl>
              <a:tblPr/>
              <a:tblGrid>
                <a:gridCol w="1497766"/>
                <a:gridCol w="1497766"/>
                <a:gridCol w="1497766"/>
                <a:gridCol w="1497766"/>
                <a:gridCol w="1497766"/>
              </a:tblGrid>
              <a:tr h="270030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ame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of the Impex Fil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scription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ample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mpex File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andatory</a:t>
                      </a:r>
                      <a:r>
                        <a:rPr lang="en-IN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ptional Attributes</a:t>
                      </a:r>
                      <a:endParaRPr lang="en-IN" sz="900" b="1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810090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warehouses.impex</a:t>
                      </a:r>
                      <a:endParaRPr lang="en-IN" sz="900" b="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avigate to the </a:t>
                      </a:r>
                      <a:r>
                        <a:rPr lang="en-US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ampledata/stores/ </a:t>
                      </a:r>
                      <a:r>
                        <a:rPr lang="en-US" sz="900" b="0" dirty="0" err="1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eeyewear</a:t>
                      </a:r>
                      <a:r>
                        <a:rPr lang="en-US" sz="900" b="0" baseline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irectory</a:t>
                      </a:r>
                      <a:r>
                        <a:rPr lang="en-US" sz="900" b="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 and assign a warehouse to the base store.</a:t>
                      </a:r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toreUid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ointOfService</a:t>
                      </a:r>
                      <a:r>
                        <a:rPr lang="en-IN" sz="900" b="1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, </a:t>
                      </a:r>
                      <a:r>
                        <a:rPr lang="en-IN" sz="900" b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Address.BaseStore</a:t>
                      </a:r>
                    </a:p>
                    <a:p>
                      <a:endParaRPr lang="en-IN" sz="9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Content Placeholder 2"/>
          <p:cNvSpPr txBox="1">
            <a:spLocks/>
          </p:cNvSpPr>
          <p:nvPr/>
        </p:nvSpPr>
        <p:spPr>
          <a:xfrm>
            <a:off x="683568" y="3073524"/>
            <a:ext cx="8001056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100" dirty="0" smtClean="0"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100" dirty="0" smtClean="0"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100" dirty="0" smtClean="0"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900" dirty="0" smtClean="0">
                <a:cs typeface="Arial" pitchFamily="34" charset="0"/>
              </a:rPr>
              <a:t>Restart the server and </a:t>
            </a:r>
            <a:r>
              <a:rPr lang="en-US" sz="900" b="1" dirty="0" smtClean="0">
                <a:cs typeface="Arial" pitchFamily="34" charset="0"/>
              </a:rPr>
              <a:t>Update</a:t>
            </a:r>
            <a:r>
              <a:rPr lang="en-US" sz="900" dirty="0" smtClean="0">
                <a:cs typeface="Arial" pitchFamily="34" charset="0"/>
              </a:rPr>
              <a:t> your system from </a:t>
            </a:r>
            <a:r>
              <a:rPr lang="en-US" sz="900" b="1" dirty="0" smtClean="0">
                <a:cs typeface="Arial" pitchFamily="34" charset="0"/>
              </a:rPr>
              <a:t>Hybris Administration Console</a:t>
            </a:r>
            <a:r>
              <a:rPr lang="en-US" sz="900" dirty="0" smtClean="0">
                <a:cs typeface="Arial" pitchFamily="34" charset="0"/>
              </a:rPr>
              <a:t>(</a:t>
            </a:r>
            <a:r>
              <a:rPr lang="en-US" sz="900" dirty="0" smtClean="0">
                <a:solidFill>
                  <a:srgbClr val="7030A0"/>
                </a:solidFill>
                <a:cs typeface="Arial" pitchFamily="34" charset="0"/>
                <a:hlinkClick r:id="rId3"/>
              </a:rPr>
              <a:t>http://localhost:9001</a:t>
            </a:r>
            <a:r>
              <a:rPr lang="en-US" sz="900" dirty="0" smtClean="0">
                <a:solidFill>
                  <a:srgbClr val="7030A0"/>
                </a:solidFill>
                <a:cs typeface="Arial" pitchFamily="34" charset="0"/>
              </a:rPr>
              <a:t>) </a:t>
            </a:r>
            <a:r>
              <a:rPr lang="en-US" sz="900" dirty="0" smtClean="0">
                <a:cs typeface="Arial" pitchFamily="34" charset="0"/>
              </a:rPr>
              <a:t>as per below snapshot</a:t>
            </a:r>
            <a:endParaRPr lang="en-IN" sz="900" dirty="0" smtClean="0">
              <a:cs typeface="Arial" pitchFamily="34" charset="0"/>
            </a:endParaRPr>
          </a:p>
        </p:txBody>
      </p:sp>
      <p:graphicFrame>
        <p:nvGraphicFramePr>
          <p:cNvPr id="122886" name="Object 6"/>
          <p:cNvGraphicFramePr>
            <a:graphicFrameLocks noChangeAspect="1"/>
          </p:cNvGraphicFramePr>
          <p:nvPr/>
        </p:nvGraphicFramePr>
        <p:xfrm>
          <a:off x="4067944" y="1489348"/>
          <a:ext cx="1574800" cy="469900"/>
        </p:xfrm>
        <a:graphic>
          <a:graphicData uri="http://schemas.openxmlformats.org/presentationml/2006/ole">
            <p:oleObj spid="_x0000_s122886" name="Packager Shell Object" showAsIcon="1" r:id="rId4" imgW="2299320" imgH="685800" progId="Package">
              <p:embed/>
            </p:oleObj>
          </a:graphicData>
        </a:graphic>
      </p:graphicFrame>
      <p:graphicFrame>
        <p:nvGraphicFramePr>
          <p:cNvPr id="122887" name="Object 7"/>
          <p:cNvGraphicFramePr>
            <a:graphicFrameLocks noChangeAspect="1"/>
          </p:cNvGraphicFramePr>
          <p:nvPr/>
        </p:nvGraphicFramePr>
        <p:xfrm>
          <a:off x="4139952" y="3001516"/>
          <a:ext cx="1441450" cy="636587"/>
        </p:xfrm>
        <a:graphic>
          <a:graphicData uri="http://schemas.openxmlformats.org/presentationml/2006/ole">
            <p:oleObj spid="_x0000_s122887" name="Packager Shell Object" showAsIcon="1" r:id="rId5" imgW="1549800" imgH="685800" progId="Package">
              <p:embed/>
            </p:oleObj>
          </a:graphicData>
        </a:graphic>
      </p:graphicFrame>
      <p:pic>
        <p:nvPicPr>
          <p:cNvPr id="15" name="Picture 6" descr="D:\Users\akathiri\Desktop\InitialData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4225652"/>
            <a:ext cx="2160240" cy="1287672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244700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5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00034" y="1071550"/>
            <a:ext cx="8001056" cy="4018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>
              <a:buClr>
                <a:srgbClr val="009BCC"/>
              </a:buClr>
              <a:buNone/>
            </a:pP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SampleData Impex Files:-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r>
              <a:rPr lang="en-US" sz="1200" b="1" dirty="0" smtClean="0">
                <a:latin typeface="Calibri" pitchFamily="34" charset="0"/>
                <a:cs typeface="Calibri" pitchFamily="34" charset="0"/>
              </a:rPr>
              <a:t>Import site content</a:t>
            </a:r>
          </a:p>
          <a:p>
            <a:pPr marL="74295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IN" sz="900" dirty="0" smtClean="0">
                <a:latin typeface="Arial" pitchFamily="34" charset="0"/>
                <a:cs typeface="Arial" pitchFamily="34" charset="0"/>
              </a:rPr>
              <a:t>Remember that the following files are relative to the </a:t>
            </a:r>
            <a:r>
              <a:rPr lang="en-IN" sz="900" b="1" dirty="0" smtClean="0">
                <a:latin typeface="Arial" pitchFamily="34" charset="0"/>
                <a:cs typeface="Arial" pitchFamily="34" charset="0"/>
              </a:rPr>
              <a:t>eeyewearinitialdata/resources/eeyewearinitialdata</a:t>
            </a:r>
            <a:r>
              <a:rPr lang="en-IN" sz="900" dirty="0" smtClean="0">
                <a:latin typeface="Arial" pitchFamily="34" charset="0"/>
                <a:cs typeface="Arial" pitchFamily="34" charset="0"/>
              </a:rPr>
              <a:t> directory.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IN" sz="1400" b="1" dirty="0" smtClean="0">
                <a:latin typeface="Calibri" pitchFamily="34" charset="0"/>
                <a:cs typeface="Calibri" pitchFamily="34" charset="0"/>
              </a:rPr>
              <a:t>       </a:t>
            </a:r>
            <a:r>
              <a:rPr lang="en-IN" sz="1200" b="1" dirty="0" smtClean="0">
                <a:latin typeface="Calibri" pitchFamily="34" charset="0"/>
                <a:cs typeface="Calibri" pitchFamily="34" charset="0"/>
              </a:rPr>
              <a:t>Import CMS data:-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4295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23530" y="2425453"/>
          <a:ext cx="8424933" cy="2405732"/>
        </p:xfrm>
        <a:graphic>
          <a:graphicData uri="http://schemas.openxmlformats.org/drawingml/2006/table">
            <a:tbl>
              <a:tblPr/>
              <a:tblGrid>
                <a:gridCol w="1570749"/>
                <a:gridCol w="1799224"/>
                <a:gridCol w="1556471"/>
                <a:gridCol w="1813502"/>
                <a:gridCol w="1684987"/>
              </a:tblGrid>
              <a:tr h="1859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Name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of the Impex File</a:t>
                      </a:r>
                      <a:endParaRPr lang="en-IN" sz="900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Description</a:t>
                      </a:r>
                      <a:endParaRPr lang="en-IN" sz="900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Sample Impex File</a:t>
                      </a:r>
                      <a:endParaRPr lang="en-IN" sz="900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Mandatory</a:t>
                      </a:r>
                      <a:r>
                        <a:rPr lang="en-IN" sz="9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Attributes</a:t>
                      </a:r>
                      <a:endParaRPr lang="en-IN" sz="900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Optional Attributes</a:t>
                      </a:r>
                      <a:endParaRPr lang="en-IN" sz="900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10381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ms-content.impex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Real  CMS content for the  eeyewear site.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Catalog, contentCatalogName, contentCV, productResource,siteResource,productCatalog, productCatalogName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SimpleBannerComponent, MiniCartComponent, ProductAddToCartComponent,ProductVariantSelectorComponen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56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ms-content_en.impex</a:t>
                      </a: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he related localized attributes values - again check the file content and rename the catalog</a:t>
                      </a:r>
                      <a:r>
                        <a:rPr lang="en-US" sz="900" baseline="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as</a:t>
                      </a:r>
                      <a:r>
                        <a:rPr lang="en-US" sz="9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eeyewearContentCatalog.</a:t>
                      </a:r>
                      <a:endParaRPr lang="en-IN" sz="900" dirty="0" smtClean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ntentCatalog, siteResource,lang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MiniCartComponent, CMSTabParagraphComponent,ProductReferencesComponent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Content Placeholder 2"/>
          <p:cNvSpPr txBox="1">
            <a:spLocks/>
          </p:cNvSpPr>
          <p:nvPr/>
        </p:nvSpPr>
        <p:spPr>
          <a:xfrm>
            <a:off x="714348" y="3714756"/>
            <a:ext cx="8001056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kumimoji="0" lang="sv-SE" sz="13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3910" name="Object 6"/>
          <p:cNvGraphicFramePr>
            <a:graphicFrameLocks noChangeAspect="1"/>
          </p:cNvGraphicFramePr>
          <p:nvPr/>
        </p:nvGraphicFramePr>
        <p:xfrm>
          <a:off x="3635896" y="2857500"/>
          <a:ext cx="1651000" cy="685800"/>
        </p:xfrm>
        <a:graphic>
          <a:graphicData uri="http://schemas.openxmlformats.org/presentationml/2006/ole">
            <p:oleObj spid="_x0000_s123910" name="Packager Shell Object" showAsIcon="1" r:id="rId3" imgW="1651320" imgH="685800" progId="Package">
              <p:embed/>
            </p:oleObj>
          </a:graphicData>
        </a:graphic>
      </p:graphicFrame>
      <p:graphicFrame>
        <p:nvGraphicFramePr>
          <p:cNvPr id="123911" name="Object 7"/>
          <p:cNvGraphicFramePr>
            <a:graphicFrameLocks noChangeAspect="1"/>
          </p:cNvGraphicFramePr>
          <p:nvPr/>
        </p:nvGraphicFramePr>
        <p:xfrm>
          <a:off x="3635375" y="3937620"/>
          <a:ext cx="1728788" cy="612775"/>
        </p:xfrm>
        <a:graphic>
          <a:graphicData uri="http://schemas.openxmlformats.org/presentationml/2006/ole">
            <p:oleObj spid="_x0000_s123911" name="Packager Shell Object" showAsIcon="1" r:id="rId4" imgW="193068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02105" y="5390957"/>
            <a:ext cx="219051" cy="158377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2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16</a:t>
            </a:fld>
            <a:endParaRPr lang="en-US" sz="12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 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00034" y="1000112"/>
            <a:ext cx="8001056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Calibri" pitchFamily="34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Calibri" pitchFamily="34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endParaRPr lang="en-IN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IN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IN" sz="1600" dirty="0" smtClean="0">
                <a:latin typeface="Times New Roman" pitchFamily="18" charset="0"/>
                <a:cs typeface="Times New Roman" pitchFamily="18" charset="0"/>
              </a:rPr>
              <a:t>The product data  &amp; cms content data will be available in the HMC </a:t>
            </a: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kumimoji="0" lang="en-IN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After completing</a:t>
            </a:r>
            <a:r>
              <a:rPr kumimoji="0" lang="en-IN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this step, our </a:t>
            </a:r>
            <a:r>
              <a:rPr kumimoji="0" lang="en-IN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eeyewearb2b </a:t>
            </a:r>
            <a:r>
              <a:rPr kumimoji="0" lang="en-IN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site will be up.</a:t>
            </a:r>
          </a:p>
          <a:p>
            <a:pPr marL="714375" lvl="2" indent="-27622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kumimoji="0" lang="sv-SE" sz="1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9552" y="913284"/>
            <a:ext cx="7056784" cy="1883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endParaRPr lang="en-US" sz="18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endParaRPr lang="en-US" sz="18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eyewear Store Link:  </a:t>
            </a:r>
            <a:endParaRPr lang="en-US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16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  <a:hlinkClick r:id="rId2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       http://localhost:9001/store/eeyewear/en/?site=eeyewear</a:t>
            </a: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1200" dirty="0" smtClean="0">
                <a:solidFill>
                  <a:srgbClr val="01C3FF"/>
                </a:solidFill>
                <a:latin typeface="Calibri" pitchFamily="34" charset="0"/>
                <a:cs typeface="Calibri" pitchFamily="34" charset="0"/>
              </a:rPr>
              <a:t>       </a:t>
            </a: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https://localhost:9002/store/eeyewear/en/?site=eeyewear</a:t>
            </a: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1200" b="1" dirty="0" smtClean="0">
                <a:solidFill>
                  <a:schemeClr val="tx2"/>
                </a:solidFill>
              </a:rPr>
              <a:t>		</a:t>
            </a:r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7</a:t>
            </a:fld>
            <a:endParaRPr lang="en-US" noProof="0" dirty="0"/>
          </a:p>
        </p:txBody>
      </p:sp>
      <p:pic>
        <p:nvPicPr>
          <p:cNvPr id="6" name="Picture 1" descr="D:\Users\akathiri\Desktop\eye12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43608" y="409228"/>
            <a:ext cx="6624736" cy="4680520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8</a:t>
            </a:fld>
            <a:endParaRPr lang="en-US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79513" y="547954"/>
          <a:ext cx="8424936" cy="2232248"/>
        </p:xfrm>
        <a:graphic>
          <a:graphicData uri="http://schemas.openxmlformats.org/drawingml/2006/table">
            <a:tbl>
              <a:tblPr/>
              <a:tblGrid>
                <a:gridCol w="905159"/>
                <a:gridCol w="3029289"/>
                <a:gridCol w="1426877"/>
                <a:gridCol w="1378624"/>
                <a:gridCol w="1684987"/>
              </a:tblGrid>
              <a:tr h="5284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Name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 of the Impex File</a:t>
                      </a:r>
                      <a:endParaRPr lang="en-IN" sz="9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</a:rPr>
                        <a:t>Description</a:t>
                      </a:r>
                      <a:endParaRPr lang="en-IN" sz="9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Sample Impex File</a:t>
                      </a:r>
                      <a:endParaRPr lang="en-IN" sz="9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Mandatory</a:t>
                      </a:r>
                      <a:r>
                        <a:rPr lang="en-IN" sz="900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 Attributes</a:t>
                      </a:r>
                      <a:endParaRPr lang="en-IN" sz="9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Optional Attributes</a:t>
                      </a:r>
                      <a:endParaRPr lang="en-IN" sz="9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93732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elivery-modes.impex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Create the new </a:t>
                      </a:r>
                      <a:r>
                        <a:rPr lang="en-US" sz="9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eeyewear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delivery method “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en-US" sz="900" u="sng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eyewear</a:t>
                      </a:r>
                      <a:r>
                        <a:rPr lang="en-US" sz="900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tandard Shipping of Documents";"2-3 business days"</a:t>
                      </a:r>
                      <a:endParaRPr lang="en-US" sz="900" kern="120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buFont typeface="Wingdings" pitchFamily="2" charset="2"/>
                        <a:buChar char="v"/>
                      </a:pPr>
                      <a:r>
                        <a:rPr lang="en-US" sz="9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eeyewear</a:t>
                      </a:r>
                      <a:r>
                        <a:rPr lang="en-US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; eeyewear-shipping 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for source and   target in 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store.impex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. </a:t>
                      </a:r>
                    </a:p>
                    <a:p>
                      <a:pPr>
                        <a:buFont typeface="Wingdings" pitchFamily="2" charset="2"/>
                        <a:buChar char="v"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elivery cost for every zone </a:t>
                      </a:r>
                      <a:b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in  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elivery-modes.impex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one, ZoneDeliveryMode, Currencies,value</a:t>
                      </a:r>
                      <a:endParaRPr lang="en-IN" sz="9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latin typeface="+mn-lt"/>
                          <a:ea typeface="Calibri"/>
                          <a:cs typeface="Times New Roman"/>
                        </a:rPr>
                        <a:t>N/A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648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elivery-modes_en.impex 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eeyewear-shipping Delivery mode of ZoneDeliveryMode in 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elivery-modes_en.impex </a:t>
                      </a:r>
                      <a:endParaRPr lang="en-IN" sz="900" b="1" kern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 smtClean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oneDeliveryMode name, description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latin typeface="+mn-lt"/>
                          <a:ea typeface="Calibri"/>
                          <a:cs typeface="Times New Roman"/>
                        </a:rPr>
                        <a:t>N/A</a:t>
                      </a:r>
                      <a:endParaRPr lang="en-IN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37220"/>
          </a:xfrm>
        </p:spPr>
        <p:txBody>
          <a:bodyPr/>
          <a:lstStyle/>
          <a:p>
            <a:r>
              <a:rPr lang="en-US" dirty="0" smtClean="0"/>
              <a:t>Customized Delivery Method </a:t>
            </a:r>
            <a:endParaRPr lang="en-US" dirty="0"/>
          </a:p>
        </p:txBody>
      </p:sp>
      <p:pic>
        <p:nvPicPr>
          <p:cNvPr id="124937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3" y="3001516"/>
            <a:ext cx="4104455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4936" name="Object 8"/>
          <p:cNvGraphicFramePr>
            <a:graphicFrameLocks noChangeAspect="1"/>
          </p:cNvGraphicFramePr>
          <p:nvPr/>
        </p:nvGraphicFramePr>
        <p:xfrm>
          <a:off x="4283968" y="1273324"/>
          <a:ext cx="1152128" cy="577516"/>
        </p:xfrm>
        <a:graphic>
          <a:graphicData uri="http://schemas.openxmlformats.org/presentationml/2006/ole">
            <p:oleObj spid="_x0000_s124936" name="Packager Shell Object" showAsIcon="1" r:id="rId4" imgW="1867320" imgH="685800" progId="Package">
              <p:embed/>
            </p:oleObj>
          </a:graphicData>
        </a:graphic>
      </p:graphicFrame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4237899" y="2065412"/>
          <a:ext cx="1270204" cy="576064"/>
        </p:xfrm>
        <a:graphic>
          <a:graphicData uri="http://schemas.openxmlformats.org/presentationml/2006/ole">
            <p:oleObj spid="_x0000_s124937" name="Packager Shell Object" showAsIcon="1" r:id="rId5" imgW="215964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9</a:t>
            </a:fld>
            <a:endParaRPr lang="en-US" noProof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36512" y="-2346"/>
            <a:ext cx="9144793" cy="98763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95536" y="769268"/>
            <a:ext cx="22764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u="sng" dirty="0" smtClean="0">
                <a:latin typeface="Calibri" panose="020F0502020204030204" pitchFamily="34" charset="0"/>
                <a:cs typeface="Times New Roman" pitchFamily="18" charset="0"/>
              </a:rPr>
              <a:t>Product Level Promotio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79512" y="1201316"/>
            <a:ext cx="4572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4492" lvl="1" indent="-171450">
              <a:buClr>
                <a:schemeClr val="tx2"/>
              </a:buClr>
              <a:buFont typeface="Wingdings" panose="05000000000000000000" pitchFamily="2" charset="2"/>
              <a:buChar char="Ø"/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These promotions are activated based upon the products within the line items of a shopping cart  or order.</a:t>
            </a:r>
          </a:p>
          <a:p>
            <a:pPr marL="453211" lvl="1" indent="-150169">
              <a:defRPr/>
            </a:pPr>
            <a:r>
              <a:rPr lang="en-US" sz="900" b="1" dirty="0" smtClean="0">
                <a:latin typeface="Arial" pitchFamily="34" charset="0"/>
                <a:cs typeface="Arial" pitchFamily="34" charset="0"/>
              </a:rPr>
              <a:t>     20% percentage discount promotion for a particular product</a:t>
            </a:r>
            <a:endParaRPr lang="en-US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580112" y="841276"/>
            <a:ext cx="18615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u="sng" dirty="0" smtClean="0">
                <a:latin typeface="Calibri" panose="020F0502020204030204" pitchFamily="34" charset="0"/>
                <a:cs typeface="Times New Roman" pitchFamily="18" charset="0"/>
              </a:rPr>
              <a:t>Order Level Promotion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17870" y="1273324"/>
            <a:ext cx="30905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3211" lvl="1" indent="-150169">
              <a:defRPr/>
            </a:pP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Buy 3 Premium package's get 1 Standard package </a:t>
            </a:r>
            <a:endParaRPr lang="en-US" sz="1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Picture 2" descr="D:\Users\akathiri\Desktop\prom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2137420"/>
            <a:ext cx="3672408" cy="2592288"/>
          </a:xfrm>
          <a:prstGeom prst="rect">
            <a:avLst/>
          </a:prstGeom>
          <a:noFill/>
        </p:spPr>
      </p:pic>
      <p:pic>
        <p:nvPicPr>
          <p:cNvPr id="15" name="Picture 3" descr="D:\Users\akathiri\Desktop\fre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1705372"/>
            <a:ext cx="4499992" cy="2952328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D:\Users\vedasari\Desktop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93204"/>
            <a:ext cx="8820150" cy="714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itle 5"/>
          <p:cNvSpPr txBox="1">
            <a:spLocks/>
          </p:cNvSpPr>
          <p:nvPr/>
        </p:nvSpPr>
        <p:spPr>
          <a:xfrm>
            <a:off x="3563888" y="2425452"/>
            <a:ext cx="5076056" cy="1152128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ctr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700" b="1" dirty="0" smtClean="0">
                <a:ln w="0"/>
                <a:solidFill>
                  <a:schemeClr val="accent5">
                    <a:lumMod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    </a:t>
            </a:r>
            <a:r>
              <a:rPr lang="en-US" sz="3700" b="1" dirty="0" err="1" smtClean="0">
                <a:ln w="0"/>
                <a:solidFill>
                  <a:schemeClr val="accent5">
                    <a:lumMod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eeyewear</a:t>
            </a:r>
            <a:r>
              <a:rPr lang="en-US" sz="3700" b="1" dirty="0" smtClean="0">
                <a:ln w="0"/>
                <a:solidFill>
                  <a:schemeClr val="accent5">
                    <a:lumMod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 </a:t>
            </a:r>
            <a:r>
              <a:rPr lang="en-US" sz="3700" b="1" dirty="0" smtClean="0">
                <a:ln w="0"/>
                <a:solidFill>
                  <a:schemeClr val="accent5">
                    <a:lumMod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b2b </a:t>
            </a:r>
            <a:r>
              <a:rPr lang="en-US" sz="3700" b="1" dirty="0" smtClean="0">
                <a:ln w="0"/>
                <a:solidFill>
                  <a:schemeClr val="accent5">
                    <a:lumMod val="50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Store</a:t>
            </a:r>
            <a:endParaRPr kumimoji="0" lang="en-US" sz="3700" b="1" i="0" u="none" strike="noStrike" kern="1200" normalizeH="0" baseline="0" noProof="0" dirty="0">
              <a:ln w="0"/>
              <a:solidFill>
                <a:schemeClr val="accent5">
                  <a:lumMod val="50000"/>
                </a:schemeClr>
              </a:solidFill>
              <a:effectLst>
                <a:reflection blurRad="12700" stA="50000" endPos="50000" dist="5000" dir="5400000" sy="-100000" rotWithShape="0"/>
              </a:effectLst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5724128" y="3505572"/>
            <a:ext cx="3096344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400" b="1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Presented by-</a:t>
            </a:r>
          </a:p>
          <a:p>
            <a:pPr marL="232693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Ravi Ranjan Kumar Pandey</a:t>
            </a:r>
          </a:p>
          <a:p>
            <a:pPr marL="232693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Madhu Sudhan </a:t>
            </a:r>
          </a:p>
          <a:p>
            <a:pPr marL="232693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Arfaat </a:t>
            </a: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Afzal Kirkire</a:t>
            </a:r>
          </a:p>
          <a:p>
            <a:pPr marL="232693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Shalini </a:t>
            </a: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Gupta</a:t>
            </a: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400" dirty="0" smtClean="0">
                <a:latin typeface="Cambria Math" pitchFamily="18" charset="0"/>
                <a:ea typeface="Cambria Math" pitchFamily="18" charset="0"/>
                <a:cs typeface="Calibri" pitchFamily="34" charset="0"/>
              </a:rPr>
              <a:t> </a:t>
            </a: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1400" dirty="0" smtClean="0">
              <a:latin typeface="Cambria Math" pitchFamily="18" charset="0"/>
              <a:ea typeface="Cambria Math" pitchFamily="18" charset="0"/>
              <a:cs typeface="Calibri" pitchFamily="34" charset="0"/>
            </a:endParaRP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500" noProof="0" dirty="0" smtClean="0">
              <a:latin typeface="Cambria Math" pitchFamily="18" charset="0"/>
              <a:ea typeface="Cambria Math" pitchFamily="18" charset="0"/>
              <a:cs typeface="Calibri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382000" y="5346700"/>
            <a:ext cx="762000" cy="304800"/>
          </a:xfrm>
        </p:spPr>
        <p:txBody>
          <a:bodyPr/>
          <a:lstStyle/>
          <a:p>
            <a:fld id="{A90B6DB0-02A1-4E08-BB11-D79540BBBF10}" type="slidenum">
              <a:rPr lang="sv-SE" sz="1200" smtClean="0">
                <a:solidFill>
                  <a:schemeClr val="tx1"/>
                </a:solidFill>
              </a:rPr>
              <a:pPr/>
              <a:t>2</a:t>
            </a:fld>
            <a:endParaRPr lang="sv-SE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0</a:t>
            </a:fld>
            <a:endParaRPr lang="en-US" noProof="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dirty="0" smtClean="0"/>
              <a:t>Vouchers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39552" y="769268"/>
            <a:ext cx="7848872" cy="1008112"/>
          </a:xfrm>
        </p:spPr>
        <p:txBody>
          <a:bodyPr/>
          <a:lstStyle/>
          <a:p>
            <a:pPr lvl="0">
              <a:buNone/>
              <a:defRPr/>
            </a:pPr>
            <a:r>
              <a:rPr lang="en-US" sz="1100" b="1" dirty="0" smtClean="0">
                <a:latin typeface="Calibri" panose="020F0502020204030204" pitchFamily="34" charset="0"/>
                <a:cs typeface="Times New Roman" pitchFamily="18" charset="0"/>
              </a:rPr>
              <a:t>Serial Voucher</a:t>
            </a:r>
          </a:p>
          <a:p>
            <a:pPr lvl="1">
              <a:defRPr/>
            </a:pP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A voucher code for a Serial Voucher is marked invalid on redemption and cannot be used more than once.</a:t>
            </a:r>
          </a:p>
          <a:p>
            <a:pPr lvl="1">
              <a:defRPr/>
            </a:pP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The hybris Voucher Module keeps track of redeemed voucher codes and does not allow redeeming a single Serial Voucher code more than once.</a:t>
            </a:r>
          </a:p>
          <a:p>
            <a:pPr>
              <a:buNone/>
            </a:pPr>
            <a:endParaRPr lang="en-US" sz="1100" dirty="0" smtClean="0">
              <a:latin typeface="Calibri" panose="020F0502020204030204" pitchFamily="34" charset="0"/>
            </a:endParaRPr>
          </a:p>
          <a:p>
            <a:endParaRPr lang="en-US" sz="1100" dirty="0">
              <a:latin typeface="Calibri" panose="020F0502020204030204" pitchFamily="34" charset="0"/>
            </a:endParaRPr>
          </a:p>
        </p:txBody>
      </p:sp>
      <p:pic>
        <p:nvPicPr>
          <p:cNvPr id="10" name="Picture 9" descr="D:\Users\shalingu\Desktop\14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993404"/>
            <a:ext cx="4457700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1993404"/>
            <a:ext cx="4283968" cy="3061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half" idx="2"/>
          </p:nvPr>
        </p:nvSpPr>
        <p:spPr>
          <a:xfrm>
            <a:off x="251520" y="1273324"/>
            <a:ext cx="9144000" cy="464561"/>
          </a:xfrm>
        </p:spPr>
        <p:txBody>
          <a:bodyPr/>
          <a:lstStyle/>
          <a:p>
            <a:pPr lvl="1">
              <a:defRPr/>
            </a:pPr>
            <a:r>
              <a:rPr lang="en-US" sz="1200" b="1" u="sng" dirty="0" smtClean="0">
                <a:latin typeface="Calibri" panose="020F0502020204030204" pitchFamily="34" charset="0"/>
                <a:cs typeface="Times New Roman" pitchFamily="18" charset="0"/>
              </a:rPr>
              <a:t>Promotional coupon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:A coupon code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for a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Promotional coupon 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is marked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valid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on redemption and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can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be used more than once.</a:t>
            </a:r>
          </a:p>
          <a:p>
            <a:pPr lvl="1">
              <a:defRPr/>
            </a:pP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The </a:t>
            </a:r>
            <a:r>
              <a:rPr lang="en-US" sz="1100" dirty="0" err="1" smtClean="0">
                <a:latin typeface="Calibri" panose="020F0502020204030204" pitchFamily="34" charset="0"/>
                <a:cs typeface="Times New Roman" pitchFamily="18" charset="0"/>
              </a:rPr>
              <a:t>hybris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coupon Module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keeps track of redeemed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coupon codes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and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allows redeeming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a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promotional Voucher </a:t>
            </a:r>
            <a:r>
              <a:rPr lang="en-US" sz="1100" dirty="0" smtClean="0">
                <a:latin typeface="Calibri" panose="020F0502020204030204" pitchFamily="34" charset="0"/>
                <a:cs typeface="Times New Roman" pitchFamily="18" charset="0"/>
              </a:rPr>
              <a:t>code more than o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1</a:t>
            </a:fld>
            <a:endParaRPr lang="en-US" noProof="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0" y="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marL="608790" marR="0" lvl="0" indent="-608790" algn="l" defTabSz="77925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		</a:t>
            </a:r>
            <a:br>
              <a:rPr kumimoji="0" lang="sv-SE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</a:br>
            <a:r>
              <a:rPr kumimoji="0" lang="sv-SE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Cont..</a:t>
            </a:r>
            <a:endParaRPr kumimoji="0" lang="sv-SE" sz="2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pic>
        <p:nvPicPr>
          <p:cNvPr id="9" name="Picture 8" descr="D:\Users\shalingu\Desktop\14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2137420"/>
            <a:ext cx="4176464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2040" y="2137420"/>
            <a:ext cx="4211960" cy="291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2</a:t>
            </a:fld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7544" y="1199999"/>
            <a:ext cx="8136904" cy="3900000"/>
          </a:xfrm>
        </p:spPr>
        <p:txBody>
          <a:bodyPr/>
          <a:lstStyle/>
          <a:p>
            <a:pPr lvl="1">
              <a:buClr>
                <a:srgbClr val="0070C0"/>
              </a:buClr>
            </a:pPr>
            <a:r>
              <a:rPr lang="en-US" sz="1100" dirty="0" smtClean="0">
                <a:cs typeface="Times New Roman" pitchFamily="18" charset="0"/>
              </a:rPr>
              <a:t>Variants are the products that differ in some aspect from one another, but are based on the base product.</a:t>
            </a:r>
          </a:p>
          <a:p>
            <a:pPr lvl="1">
              <a:buClr>
                <a:srgbClr val="0070C0"/>
              </a:buClr>
            </a:pPr>
            <a:r>
              <a:rPr lang="en-US" sz="1100" dirty="0" smtClean="0">
                <a:cs typeface="Times New Roman" pitchFamily="18" charset="0"/>
              </a:rPr>
              <a:t>We have  defined  </a:t>
            </a:r>
            <a:r>
              <a:rPr lang="en-US" sz="1100" i="1" dirty="0" smtClean="0"/>
              <a:t>eeyewearSizeVariantProduct </a:t>
            </a:r>
            <a:r>
              <a:rPr lang="en-US" sz="1100" dirty="0" smtClean="0">
                <a:cs typeface="Times New Roman" pitchFamily="18" charset="0"/>
              </a:rPr>
              <a:t>and  </a:t>
            </a:r>
            <a:r>
              <a:rPr lang="en-US" sz="1100" i="1" dirty="0" smtClean="0"/>
              <a:t>eeyewearStyleVariantProduct</a:t>
            </a:r>
            <a:endParaRPr lang="en-US" sz="1100" dirty="0" smtClean="0">
              <a:cs typeface="Times New Roman" pitchFamily="18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dirty="0" smtClean="0"/>
              <a:t>Variants</a:t>
            </a:r>
            <a:endParaRPr lang="en-US" dirty="0"/>
          </a:p>
        </p:txBody>
      </p:sp>
      <p:pic>
        <p:nvPicPr>
          <p:cNvPr id="7" name="Picture 1" descr="D:\Users\akathiri\Desktop\vari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163" y="1921396"/>
            <a:ext cx="7812087" cy="3169717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3</a:t>
            </a:fld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85292"/>
            <a:ext cx="9144000" cy="4248471"/>
          </a:xfrm>
        </p:spPr>
        <p:txBody>
          <a:bodyPr/>
          <a:lstStyle/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A coming soon landing page is a sign up landing page designed to generate customer leads for a product or business that does not  yet exist.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A great coming soon landing page, focuses on one primary objective: getting people to sign up before launch.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Do this right and you can build enough initial brand momentum to sustain an enormous amount of signups pre-launch </a:t>
            </a:r>
          </a:p>
          <a:p>
            <a:pPr>
              <a:buNone/>
              <a:defRPr/>
            </a:pPr>
            <a:r>
              <a:rPr lang="en-US" sz="900" b="1" dirty="0" smtClean="0">
                <a:latin typeface="Arial" pitchFamily="34" charset="0"/>
                <a:cs typeface="Arial" pitchFamily="34" charset="0"/>
              </a:rPr>
              <a:t>       Implementation for coming soon products    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Create new attribute “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ComingSoon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” in product 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itemtyp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in </a:t>
            </a:r>
            <a:r>
              <a:rPr lang="en-US" sz="900" b="1" dirty="0" smtClean="0">
                <a:latin typeface="Arial" pitchFamily="34" charset="0"/>
                <a:cs typeface="Arial" pitchFamily="34" charset="0"/>
              </a:rPr>
              <a:t>eeyewearcore-items.xml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file.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Create new template for coming soon product page in </a:t>
            </a:r>
            <a:r>
              <a:rPr lang="en-US" sz="900" b="1" dirty="0" err="1" smtClean="0">
                <a:latin typeface="Arial" pitchFamily="34" charset="0"/>
                <a:cs typeface="Arial" pitchFamily="34" charset="0"/>
              </a:rPr>
              <a:t>coredata</a:t>
            </a:r>
            <a:r>
              <a:rPr lang="en-US" sz="900" b="1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en-US" sz="900" b="1" dirty="0" err="1" smtClean="0">
                <a:latin typeface="Arial" pitchFamily="34" charset="0"/>
                <a:cs typeface="Arial" pitchFamily="34" charset="0"/>
              </a:rPr>
              <a:t>cms-content.impex</a:t>
            </a:r>
            <a:r>
              <a:rPr lang="en-US" sz="900" b="1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file.</a:t>
            </a:r>
            <a:endParaRPr lang="en-US" sz="900" b="1" dirty="0" smtClean="0">
              <a:latin typeface="Arial" pitchFamily="34" charset="0"/>
              <a:cs typeface="Arial" pitchFamily="34" charset="0"/>
            </a:endParaRP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Create controller ComingSoonController.java to redirect to that page.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Now we are going to create ComingSoonDao.java to retrieve coming soon products from product table.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Change comingSoonLayout.jsp to show your coming soon products on page</a:t>
            </a:r>
          </a:p>
          <a:p>
            <a:pPr lvl="1">
              <a:buClr>
                <a:srgbClr val="0070C0"/>
              </a:buClr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Go to Your Site and click on Coming Soon link.</a:t>
            </a:r>
          </a:p>
          <a:p>
            <a:pPr lvl="1">
              <a:buClr>
                <a:srgbClr val="0070C0"/>
              </a:buClr>
              <a:buNone/>
            </a:pPr>
            <a:endParaRPr lang="en-US" sz="9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dirty="0" smtClean="0"/>
              <a:t>Coming Soon Products</a:t>
            </a:r>
            <a:endParaRPr lang="en-US" dirty="0"/>
          </a:p>
        </p:txBody>
      </p:sp>
      <p:pic>
        <p:nvPicPr>
          <p:cNvPr id="8" name="Picture 1" descr="D:\Users\akathiri\Desktop\cm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3361556"/>
            <a:ext cx="6048672" cy="1800200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e Logi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4</a:t>
            </a:fld>
            <a:endParaRPr lang="en-US" noProof="0" dirty="0"/>
          </a:p>
        </p:txBody>
      </p:sp>
      <p:pic>
        <p:nvPicPr>
          <p:cNvPr id="5" name="Content Placeholder 4" descr="D:\Users\shalingu\Desktop\3.PNG"/>
          <p:cNvPicPr>
            <a:picLocks noGrp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1417340"/>
            <a:ext cx="7992888" cy="36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5</a:t>
            </a:fld>
            <a:endParaRPr lang="en-US" noProof="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dirty="0" smtClean="0"/>
              <a:t>Custom Registration Implementatio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51520" y="981640"/>
            <a:ext cx="8712968" cy="4180115"/>
          </a:xfrm>
        </p:spPr>
        <p:txBody>
          <a:bodyPr/>
          <a:lstStyle/>
          <a:p>
            <a:pPr lvl="0">
              <a:buNone/>
            </a:pPr>
            <a:endParaRPr lang="en-US" sz="1100" dirty="0" smtClean="0">
              <a:latin typeface="Calibri" panose="020F0502020204030204" pitchFamily="34" charset="0"/>
              <a:cs typeface="Times New Roman" pitchFamily="18" charset="0"/>
            </a:endParaRPr>
          </a:p>
          <a:p>
            <a:pPr>
              <a:buNone/>
            </a:pPr>
            <a:endParaRPr lang="en-US" sz="1100" dirty="0" smtClean="0">
              <a:latin typeface="Calibri" panose="020F0502020204030204" pitchFamily="34" charset="0"/>
              <a:cs typeface="Times New Roman" pitchFamily="18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755576" y="1129308"/>
            <a:ext cx="4752528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We  have created a template of </a:t>
            </a: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secureportaladdon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 </a:t>
            </a: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Add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an item type in your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eeyewearcore-items.xm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as follows and build your system and updat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.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Create a </a:t>
            </a: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eeyewear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 registration form in </a:t>
            </a:r>
            <a:r>
              <a:rPr lang="en-US" sz="1200" dirty="0" smtClean="0">
                <a:cs typeface="Times New Roman" pitchFamily="18" charset="0"/>
              </a:rPr>
              <a:t>cust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 </a:t>
            </a:r>
            <a:r>
              <a:rPr lang="en-US" sz="1200" dirty="0" err="1" smtClean="0">
                <a:cs typeface="Times New Roman" pitchFamily="18" charset="0"/>
              </a:rPr>
              <a:t>addon</a:t>
            </a:r>
            <a:r>
              <a:rPr lang="en-US" sz="1200" dirty="0" smtClean="0">
                <a:cs typeface="Times New Roman" pitchFamily="18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with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the </a:t>
            </a:r>
            <a:r>
              <a:rPr lang="en-US" sz="1200" dirty="0" smtClean="0">
                <a:cs typeface="Times New Roman" pitchFamily="18" charset="0"/>
              </a:rPr>
              <a:t>new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and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existing attributes.</a:t>
            </a: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Add new attributes in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register.tag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 file</a:t>
            </a: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cs typeface="Times New Roman" pitchFamily="18" charset="0"/>
              </a:rPr>
              <a:t>Modify the </a:t>
            </a:r>
            <a:r>
              <a:rPr lang="en-US" sz="1200" dirty="0" err="1" smtClean="0">
                <a:cs typeface="Times New Roman" pitchFamily="18" charset="0"/>
              </a:rPr>
              <a:t>SecurePortalRegistrationValidator</a:t>
            </a:r>
            <a:endParaRPr lang="en-US" sz="1200" dirty="0" smtClean="0">
              <a:cs typeface="Times New Roman" pitchFamily="18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cs typeface="Times New Roman" pitchFamily="18" charset="0"/>
              </a:rPr>
              <a:t>B2BRegistrationController.....check the method </a:t>
            </a:r>
            <a:r>
              <a:rPr lang="en-US" sz="1200" dirty="0" err="1" smtClean="0">
                <a:cs typeface="Times New Roman" pitchFamily="18" charset="0"/>
              </a:rPr>
              <a:t>submitRegistration</a:t>
            </a:r>
            <a:endParaRPr lang="en-US" sz="1200" dirty="0" smtClean="0">
              <a:cs typeface="Times New Roman" pitchFamily="18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cs typeface="Times New Roman" pitchFamily="18" charset="0"/>
              </a:rPr>
              <a:t> CUSTOMaddon-bean.xml add the new property in the </a:t>
            </a:r>
            <a:r>
              <a:rPr lang="en-US" sz="1200" dirty="0" err="1" smtClean="0">
                <a:cs typeface="Times New Roman" pitchFamily="18" charset="0"/>
              </a:rPr>
              <a:t>exixting</a:t>
            </a:r>
            <a:r>
              <a:rPr lang="en-US" sz="1200" dirty="0" smtClean="0">
                <a:cs typeface="Times New Roman" pitchFamily="18" charset="0"/>
              </a:rPr>
              <a:t> B2BRegistrationData </a:t>
            </a:r>
            <a:endParaRPr lang="en-US" sz="1200" dirty="0" smtClean="0">
              <a:cs typeface="Times New Roman" pitchFamily="18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cs typeface="Times New Roman" pitchFamily="18" charset="0"/>
              </a:rPr>
              <a:t>DefaultB2BRegistrationFacade find the Method </a:t>
            </a:r>
            <a:r>
              <a:rPr lang="en-US" sz="1200" dirty="0" err="1" smtClean="0">
                <a:cs typeface="Times New Roman" pitchFamily="18" charset="0"/>
              </a:rPr>
              <a:t>toCustomerModel</a:t>
            </a:r>
            <a:r>
              <a:rPr lang="en-US" sz="1200" dirty="0" smtClean="0">
                <a:cs typeface="Times New Roman" pitchFamily="18" charset="0"/>
              </a:rPr>
              <a:t> &amp; add </a:t>
            </a:r>
            <a:r>
              <a:rPr lang="en-US" sz="1200" dirty="0" smtClean="0">
                <a:cs typeface="Times New Roman" pitchFamily="18" charset="0"/>
              </a:rPr>
              <a:t>attributes</a:t>
            </a: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endParaRPr lang="en-US" sz="1200" dirty="0" smtClean="0">
              <a:cs typeface="Times New Roman" pitchFamily="18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200" dirty="0" smtClean="0">
                <a:cs typeface="Times New Roman" pitchFamily="18" charset="0"/>
              </a:rPr>
              <a:t>Generate </a:t>
            </a:r>
            <a:r>
              <a:rPr lang="en-US" sz="1200" dirty="0" smtClean="0">
                <a:cs typeface="Times New Roman" pitchFamily="18" charset="0"/>
              </a:rPr>
              <a:t>Beans in    eeyewearfacade-bean.xml</a:t>
            </a: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131073" name="Picture 1" descr="D:\Users\shalingu\Documents\My Received Files\reg pag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05651" y="769269"/>
            <a:ext cx="3738349" cy="4392488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6</a:t>
            </a:fld>
            <a:endParaRPr lang="en-US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sz="1800" dirty="0" smtClean="0"/>
              <a:t>Customize PDP to define new attribute</a:t>
            </a:r>
            <a:endParaRPr lang="en-US" sz="1800" dirty="0"/>
          </a:p>
        </p:txBody>
      </p:sp>
      <p:sp>
        <p:nvSpPr>
          <p:cNvPr id="8" name="Content Placeholder 4"/>
          <p:cNvSpPr>
            <a:spLocks noGrp="1"/>
          </p:cNvSpPr>
          <p:nvPr>
            <p:ph idx="1"/>
          </p:nvPr>
        </p:nvSpPr>
        <p:spPr>
          <a:xfrm>
            <a:off x="0" y="985293"/>
            <a:ext cx="9144000" cy="2808311"/>
          </a:xfrm>
        </p:spPr>
        <p:txBody>
          <a:bodyPr/>
          <a:lstStyle/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Add an item type in your eeyewearcore-items.xml as follows and build your system and update 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i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900" b="1" dirty="0" err="1" smtClean="0">
                <a:latin typeface="Arial" pitchFamily="34" charset="0"/>
                <a:cs typeface="Arial" pitchFamily="34" charset="0"/>
              </a:rPr>
              <a:t>Rating,grad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n-US" sz="900" dirty="0">
                <a:latin typeface="Arial" pitchFamily="34" charset="0"/>
                <a:cs typeface="Arial" pitchFamily="34" charset="0"/>
              </a:rPr>
              <a:t>D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efine two attribute called “Rating,CustomerSatisfaction” in items.xml file . After that ant all &amp; Refresh the workspace, do update on eeyewearcore extension from HAC.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Open the HMC </a:t>
            </a:r>
            <a:r>
              <a:rPr lang="en-US" sz="9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Catalog </a:t>
            </a:r>
            <a:r>
              <a:rPr lang="en-US" sz="9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Product </a:t>
            </a:r>
            <a:r>
              <a:rPr lang="en-US" sz="9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Administration tab add new attributes under addons.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ProductPageController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handles request for the addons. Add all the addons values created from HMC in the product model. Put all the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attribute’s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data in List. {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attributesList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}.</a:t>
            </a:r>
          </a:p>
          <a:p>
            <a:r>
              <a:rPr lang="en-US" sz="900" dirty="0">
                <a:latin typeface="Arial" pitchFamily="34" charset="0"/>
                <a:cs typeface="Arial" pitchFamily="34" charset="0"/>
              </a:rPr>
              <a:t>Display the data exists in the List  on PDP through addtocartaction.jsp fil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Create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new attribute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“attribute’s ” in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ProductData Bean class of 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eeyewearfacades-beans.xml file and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i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n eeyewearfacades-spring.xml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file created the bean id of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eeyewearProductAttributsPopulator 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class to populate the  attribute data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0"/>
            <a:r>
              <a:rPr lang="en-US" sz="900" dirty="0" smtClean="0">
                <a:latin typeface="Arial" pitchFamily="34" charset="0"/>
                <a:cs typeface="Arial" pitchFamily="34" charset="0"/>
              </a:rPr>
              <a:t>ProductPageController handles request for the addons. Add all the addons values created from HMC in the product model. Put all the attribute’s data in List. {attributesList}.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Display the data exists in the List  on PDP through addtocartaction.jsp file.</a:t>
            </a:r>
          </a:p>
          <a:p>
            <a:pPr>
              <a:buNone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     I have created new attribute “attributes”  in ProductData Bean class of  eeyewearfacades-beans.xml file</a:t>
            </a:r>
          </a:p>
          <a:p>
            <a:pPr>
              <a:buNone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     In eeyewearfacades-spring.xml file created the bean id of eeyewearProductAttributesPopulator class to populate the  attribute data.</a:t>
            </a:r>
          </a:p>
          <a:p>
            <a:endParaRPr lang="en-US" sz="900" dirty="0">
              <a:latin typeface="Arial" pitchFamily="34" charset="0"/>
              <a:cs typeface="Arial" pitchFamily="34" charset="0"/>
            </a:endParaRPr>
          </a:p>
          <a:p>
            <a:pPr lvl="0">
              <a:buNone/>
            </a:pPr>
            <a:endParaRPr lang="en-US" sz="900" dirty="0" smtClean="0"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endParaRPr lang="en-US" sz="900" dirty="0" smtClean="0"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1" descr="D:\Users\akathiri\Desktop\pdp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11760" y="3721596"/>
            <a:ext cx="3960440" cy="1381559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7</a:t>
            </a:fld>
            <a:endParaRPr lang="en-US" noProof="0" dirty="0"/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r>
              <a:rPr lang="en-US" dirty="0" smtClean="0"/>
              <a:t>Update My Account Detail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83568" y="875531"/>
            <a:ext cx="8208912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u="sng" dirty="0" smtClean="0">
                <a:latin typeface="Arial" pitchFamily="34" charset="0"/>
                <a:cs typeface="Arial" pitchFamily="34" charset="0"/>
              </a:rPr>
              <a:t>Process for Update Details:</a:t>
            </a:r>
          </a:p>
          <a:p>
            <a:endParaRPr lang="en-US" sz="9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reat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MyAccount CMS link component in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sample data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folder of cms-content.impex fil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Localiz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CMSLink component in cms-content_en.impex file of Sample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data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new Customer Register Page attributes in accountProfileEditPage.jsp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fil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reate eeyewearUpdateProfileForm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with new and  existing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attribut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reate eeyewearUpdateProfileValidator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with new and existing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attribut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reate eeyewearDefaultCustomerFacad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class with new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attribut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reate  eeyewearCustomerAttributesPopulator 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with new attributes to populate the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data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Do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the changes in AccountPageController.java file to update the new attributes in , /update-profile,/edit-profile Requestmapping url pattern of controller class.</a:t>
            </a:r>
          </a:p>
        </p:txBody>
      </p:sp>
      <p:pic>
        <p:nvPicPr>
          <p:cNvPr id="129025" name="Picture 1" descr="D:\Users\shalingu\Documents\My Received Files\profile updat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624" y="2785492"/>
            <a:ext cx="5904656" cy="2580487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t Folde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900" dirty="0" err="1" smtClean="0"/>
              <a:t>Hybris</a:t>
            </a:r>
            <a:r>
              <a:rPr lang="en-US" sz="900" dirty="0" smtClean="0"/>
              <a:t> supports hot folders which are folders from which data can be automatically imported into </a:t>
            </a:r>
            <a:r>
              <a:rPr lang="en-US" sz="900" dirty="0" err="1" smtClean="0"/>
              <a:t>Hybris</a:t>
            </a:r>
            <a:r>
              <a:rPr lang="en-US" sz="900" dirty="0" smtClean="0"/>
              <a:t> by simply placing the data inside of the folder. </a:t>
            </a:r>
          </a:p>
          <a:p>
            <a:pPr eaLnBrk="0"/>
            <a:r>
              <a:rPr lang="en-US" sz="900" b="1" dirty="0" smtClean="0"/>
              <a:t>Implementation</a:t>
            </a:r>
          </a:p>
          <a:p>
            <a:pPr eaLnBrk="0"/>
            <a:r>
              <a:rPr lang="en-US" sz="900" b="1" dirty="0" smtClean="0"/>
              <a:t>Testing the </a:t>
            </a:r>
            <a:r>
              <a:rPr lang="en-US" sz="900" b="1" dirty="0" err="1" smtClean="0"/>
              <a:t>hotFolder</a:t>
            </a:r>
            <a:r>
              <a:rPr lang="en-US" sz="900" dirty="0" smtClean="0"/>
              <a:t> </a:t>
            </a:r>
            <a:r>
              <a:rPr lang="en-IN" sz="900" dirty="0" smtClean="0"/>
              <a:t>.</a:t>
            </a:r>
            <a:endParaRPr lang="en-US" sz="9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8</a:t>
            </a:fld>
            <a:endParaRPr lang="en-US" noProof="0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6660232" y="1561356"/>
          <a:ext cx="2160240" cy="432048"/>
        </p:xfrm>
        <a:graphic>
          <a:graphicData uri="http://schemas.openxmlformats.org/presentationml/2006/ole">
            <p:oleObj spid="_x0000_s128002" name="Packager Shell Object" r:id="rId3" imgW="3175560" imgH="685800" progId="Package">
              <p:embed/>
            </p:oleObj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6156176" y="2641476"/>
          <a:ext cx="2447925" cy="504056"/>
        </p:xfrm>
        <a:graphic>
          <a:graphicData uri="http://schemas.openxmlformats.org/presentationml/2006/ole">
            <p:oleObj spid="_x0000_s128003" name="Macro-Enabled Worksheet" r:id="rId4" imgW="2447824" imgH="771470" progId="Excel.SheetMacroEnabled.12">
              <p:embed/>
            </p:oleObj>
          </a:graphicData>
        </a:graphic>
      </p:graphicFrame>
      <p:pic>
        <p:nvPicPr>
          <p:cNvPr id="128005" name="Picture 5" descr="D:\Users\shalingu\Desktop\hotfolder_pic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497460"/>
            <a:ext cx="5829102" cy="2277736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WCMS COCKPIT CUSTO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69268"/>
            <a:ext cx="9144000" cy="4608512"/>
          </a:xfrm>
        </p:spPr>
        <p:txBody>
          <a:bodyPr/>
          <a:lstStyle/>
          <a:p>
            <a:r>
              <a:rPr lang="en-US" sz="900" dirty="0" smtClean="0"/>
              <a:t>Here we will be creating a new Page , a new Link and a new Component  by creating a new Template.</a:t>
            </a:r>
            <a:r>
              <a:rPr lang="en-US" sz="900" b="1" dirty="0" smtClean="0"/>
              <a:t> </a:t>
            </a:r>
            <a:endParaRPr lang="en-US" sz="900" dirty="0" smtClean="0"/>
          </a:p>
          <a:p>
            <a:pPr lvl="0"/>
            <a:r>
              <a:rPr lang="en-US" sz="900" dirty="0" smtClean="0"/>
              <a:t>Now we have to create a new page and link it in the site so that user can click that link and our offer page gets displayed with the fresh offers.</a:t>
            </a:r>
          </a:p>
          <a:p>
            <a:pPr lvl="0"/>
            <a:r>
              <a:rPr lang="en-US" sz="900" dirty="0" smtClean="0"/>
              <a:t>Firstly we were create a Node named Offers in the </a:t>
            </a:r>
            <a:r>
              <a:rPr lang="en-US" sz="900" dirty="0" err="1" smtClean="0"/>
              <a:t>NavigationBar</a:t>
            </a:r>
            <a:r>
              <a:rPr lang="en-US" sz="900" dirty="0" smtClean="0"/>
              <a:t> which will redirect us to the Offers Page.</a:t>
            </a:r>
          </a:p>
          <a:p>
            <a:pPr lvl="0"/>
            <a:endParaRPr lang="en-US" sz="900" dirty="0" smtClean="0"/>
          </a:p>
          <a:p>
            <a:pPr lvl="0"/>
            <a:endParaRPr lang="en-US" sz="900" b="1" u="sng" dirty="0" smtClean="0"/>
          </a:p>
          <a:p>
            <a:pPr>
              <a:buNone/>
            </a:pPr>
            <a:r>
              <a:rPr lang="en-US" sz="900" dirty="0" smtClean="0"/>
              <a:t> </a:t>
            </a:r>
          </a:p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9</a:t>
            </a:fld>
            <a:endParaRPr lang="en-US" noProof="0" dirty="0"/>
          </a:p>
        </p:txBody>
      </p:sp>
      <p:pic>
        <p:nvPicPr>
          <p:cNvPr id="140289" name="Picture 1" descr="D:\Users\ravlkaur\Documents\My Received Files\Captur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1705372"/>
            <a:ext cx="5627676" cy="2656229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 Math" pitchFamily="18" charset="0"/>
                <a:ea typeface="Cambria Math" pitchFamily="18" charset="0"/>
              </a:rPr>
              <a:t>Objective, Prerequisites and Agenda of </a:t>
            </a:r>
            <a:r>
              <a:rPr lang="en-US" dirty="0" err="1" smtClean="0">
                <a:latin typeface="Cambria Math" pitchFamily="18" charset="0"/>
                <a:ea typeface="Cambria Math" pitchFamily="18" charset="0"/>
              </a:rPr>
              <a:t>eeyewear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769269"/>
            <a:ext cx="6984776" cy="4032447"/>
          </a:xfrm>
        </p:spPr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49162" name="AutoShape 10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9164" name="AutoShape 12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95536" y="913284"/>
            <a:ext cx="8640960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857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</a:pPr>
            <a:r>
              <a:rPr lang="en-US" sz="1400" b="1" dirty="0" smtClean="0">
                <a:solidFill>
                  <a:srgbClr val="0070C0"/>
                </a:solidFill>
                <a:cs typeface="Calibri" pitchFamily="34" charset="0"/>
              </a:rPr>
              <a:t>OBJECTIVE:</a:t>
            </a:r>
          </a:p>
          <a:p>
            <a:pPr lvl="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1400" b="1" dirty="0" smtClean="0">
                <a:cs typeface="Calibri" pitchFamily="34" charset="0"/>
              </a:rPr>
              <a:t>        </a:t>
            </a:r>
            <a:r>
              <a:rPr lang="en-US" sz="1400" dirty="0" smtClean="0">
                <a:cs typeface="Calibri" pitchFamily="34" charset="0"/>
              </a:rPr>
              <a:t>To provide customers to buy Eyewears online .</a:t>
            </a:r>
          </a:p>
          <a:p>
            <a:pPr lvl="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400" dirty="0" smtClean="0">
              <a:cs typeface="Calibri" pitchFamily="34" charset="0"/>
            </a:endParaRPr>
          </a:p>
          <a:p>
            <a:pPr marL="2857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</a:pPr>
            <a:r>
              <a:rPr lang="en-US" sz="1400" b="1" dirty="0" smtClean="0">
                <a:solidFill>
                  <a:srgbClr val="0070C0"/>
                </a:solidFill>
              </a:rPr>
              <a:t>AGENDA:</a:t>
            </a: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Demonstration of the Store.</a:t>
            </a:r>
            <a:endParaRPr lang="en-US" sz="1200" dirty="0">
              <a:cs typeface="Calibri" pitchFamily="34" charset="0"/>
            </a:endParaRP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Implementation.</a:t>
            </a:r>
            <a:endParaRPr lang="en-US" sz="1200" dirty="0"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200" dirty="0" smtClean="0">
              <a:solidFill>
                <a:srgbClr val="0070C0"/>
              </a:solidFill>
              <a:cs typeface="Calibri" pitchFamily="34" charset="0"/>
            </a:endParaRP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400" dirty="0">
              <a:solidFill>
                <a:srgbClr val="0070C0"/>
              </a:solidFill>
              <a:cs typeface="Calibri" pitchFamily="34" charset="0"/>
            </a:endParaRPr>
          </a:p>
          <a:p>
            <a:pPr marL="2857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</a:pPr>
            <a:endParaRPr lang="en-US" sz="1800" b="1" dirty="0" smtClean="0">
              <a:solidFill>
                <a:schemeClr val="tx2"/>
              </a:solidFill>
            </a:endParaRPr>
          </a:p>
          <a:p>
            <a:pPr marL="2857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800" b="1" dirty="0">
              <a:solidFill>
                <a:schemeClr val="tx2"/>
              </a:solidFill>
              <a:cs typeface="Calibr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67944" y="1633364"/>
            <a:ext cx="4067944" cy="3336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400" b="1" dirty="0" smtClean="0">
                <a:solidFill>
                  <a:srgbClr val="0070C0"/>
                </a:solidFill>
                <a:cs typeface="Times New Roman" pitchFamily="18" charset="0"/>
              </a:rPr>
              <a:t>PREREQUISITES</a:t>
            </a: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en-US" sz="1400" b="1" u="sng" dirty="0" smtClean="0">
                <a:cs typeface="Times New Roman" pitchFamily="18" charset="0"/>
              </a:rPr>
              <a:t>Software requirements</a:t>
            </a:r>
            <a:r>
              <a:rPr lang="en-US" sz="1400" dirty="0" smtClean="0">
                <a:solidFill>
                  <a:srgbClr val="FF0000"/>
                </a:solidFill>
                <a:cs typeface="Times New Roman" pitchFamily="18" charset="0"/>
              </a:rPr>
              <a:t>:</a:t>
            </a:r>
          </a:p>
          <a:p>
            <a:pPr marL="450850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dirty="0" smtClean="0">
                <a:cs typeface="Times New Roman" pitchFamily="18" charset="0"/>
              </a:rPr>
              <a:t>Windows 7 OS (64 bit)</a:t>
            </a:r>
            <a:endParaRPr lang="en-US" sz="1200" b="1" dirty="0" smtClean="0">
              <a:cs typeface="Times New Roman" pitchFamily="18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SAP Hybris 6.0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Java (jdk 1.8).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Apache Ant 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Apache Tomcat Web Server.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HSQL(Database)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sv-SE" sz="1400" b="1" dirty="0" smtClean="0">
              <a:solidFill>
                <a:srgbClr val="FF0000"/>
              </a:solidFill>
              <a:cs typeface="Times New Roman" pitchFamily="18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q"/>
            </a:pPr>
            <a:r>
              <a:rPr lang="en-US" sz="1400" b="1" u="sng" dirty="0" smtClean="0">
                <a:cs typeface="Times New Roman" pitchFamily="18" charset="0"/>
              </a:rPr>
              <a:t>Hardware requirements</a:t>
            </a:r>
            <a:r>
              <a:rPr lang="en-US" sz="1400" dirty="0" smtClean="0">
                <a:solidFill>
                  <a:srgbClr val="01C3FF"/>
                </a:solidFill>
                <a:cs typeface="Times New Roman" pitchFamily="18" charset="0"/>
              </a:rPr>
              <a:t>:</a:t>
            </a:r>
            <a:endParaRPr lang="sv-SE" sz="1400" dirty="0" smtClean="0">
              <a:solidFill>
                <a:srgbClr val="01C3FF"/>
              </a:solidFill>
              <a:cs typeface="Times New Roman" pitchFamily="18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dirty="0" smtClean="0">
                <a:cs typeface="Times New Roman" pitchFamily="18" charset="0"/>
              </a:rPr>
              <a:t>Processor: i5 or i7.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RAM : 8GB or more.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sv-SE" sz="1200" dirty="0" smtClean="0">
                <a:cs typeface="Times New Roman" pitchFamily="18" charset="0"/>
              </a:rPr>
              <a:t>HardDisk : 100 GB or more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lang="sv-SE" sz="1400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93204"/>
            <a:ext cx="8712968" cy="1080120"/>
          </a:xfrm>
        </p:spPr>
        <p:txBody>
          <a:bodyPr/>
          <a:lstStyle/>
          <a:p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AFTER CLICKING ON OFFERS  THE OFFERSPAGECONTROLLER WILL  BE CALLED WHICH WILL REDIRECT US TO THE JSP PAGE(OFFERSLAYOUTPAGE).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 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0</a:t>
            </a:fld>
            <a:endParaRPr lang="en-US" noProof="0" dirty="0"/>
          </a:p>
        </p:txBody>
      </p:sp>
      <p:pic>
        <p:nvPicPr>
          <p:cNvPr id="8" name="Picture 4" descr="D:\Users\ravlkaur\Documents\My Received Files\Capture12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9632" y="1849388"/>
            <a:ext cx="6242581" cy="2960687"/>
          </a:xfrm>
          <a:prstGeom prst="rect">
            <a:avLst/>
          </a:prstGeom>
          <a:noFill/>
        </p:spPr>
      </p:pic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395536" y="1489348"/>
            <a:ext cx="3600400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4295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4800" dirty="0" smtClean="0">
                <a:latin typeface="Gabriola" pitchFamily="82" charset="0"/>
              </a:rPr>
              <a:t>Thank You</a:t>
            </a:r>
          </a:p>
          <a:p>
            <a:pPr marL="45720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lang="en-US" sz="1300" dirty="0" smtClean="0"/>
          </a:p>
          <a:p>
            <a:pPr marL="1239627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Courier New" pitchFamily="49" charset="0"/>
              <a:buChar char="o"/>
            </a:pPr>
            <a:endParaRPr lang="en-US" sz="13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000" dirty="0" smtClean="0">
              <a:latin typeface="Calibri" pitchFamily="34" charset="0"/>
              <a:cs typeface="Calibri" pitchFamily="34" charset="0"/>
            </a:endParaRPr>
          </a:p>
          <a:p>
            <a:pPr marL="850001" lvl="1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697260"/>
            <a:ext cx="9144000" cy="4402739"/>
          </a:xfrm>
        </p:spPr>
        <p:txBody>
          <a:bodyPr/>
          <a:lstStyle/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en-US" sz="1400" b="1" dirty="0" smtClean="0">
                <a:solidFill>
                  <a:srgbClr val="0070C0"/>
                </a:solidFill>
              </a:rPr>
              <a:t>USER STORY</a:t>
            </a:r>
            <a:r>
              <a:rPr lang="en-US" sz="1400" b="1" dirty="0" smtClean="0">
                <a:solidFill>
                  <a:schemeClr val="tx2"/>
                </a:solidFill>
              </a:rPr>
              <a:t>:</a:t>
            </a:r>
          </a:p>
          <a:p>
            <a:pPr marL="285750" lvl="0" indent="-285750">
              <a:buNone/>
            </a:pPr>
            <a:endParaRPr lang="en-US" sz="1400" b="1" dirty="0" smtClean="0">
              <a:solidFill>
                <a:schemeClr val="tx2"/>
              </a:solidFill>
            </a:endParaRP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b2b </a:t>
            </a:r>
            <a:r>
              <a:rPr lang="en-US" sz="1200" dirty="0" smtClean="0">
                <a:cs typeface="Calibri" pitchFamily="34" charset="0"/>
              </a:rPr>
              <a:t>store setup for </a:t>
            </a:r>
            <a:r>
              <a:rPr lang="en-US" sz="1200" dirty="0" err="1" smtClean="0">
                <a:cs typeface="Calibri" pitchFamily="34" charset="0"/>
              </a:rPr>
              <a:t>eeyewear</a:t>
            </a:r>
            <a:r>
              <a:rPr lang="en-US" sz="1200" dirty="0" smtClean="0">
                <a:cs typeface="Calibri" pitchFamily="34" charset="0"/>
              </a:rPr>
              <a:t>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</a:t>
            </a:r>
            <a:r>
              <a:rPr lang="en-US" sz="1200" dirty="0" err="1" smtClean="0">
                <a:cs typeface="Calibri" pitchFamily="34" charset="0"/>
              </a:rPr>
              <a:t>eeyewear</a:t>
            </a:r>
            <a:r>
              <a:rPr lang="en-US" sz="1200" dirty="0" smtClean="0">
                <a:cs typeface="Calibri" pitchFamily="34" charset="0"/>
              </a:rPr>
              <a:t> Store. 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err="1" smtClean="0">
                <a:cs typeface="Calibri" pitchFamily="34" charset="0"/>
              </a:rPr>
              <a:t>eeyewear</a:t>
            </a:r>
            <a:r>
              <a:rPr lang="en-US" sz="1200" dirty="0" smtClean="0">
                <a:cs typeface="Calibri" pitchFamily="34" charset="0"/>
              </a:rPr>
              <a:t> Catalog setup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err="1" smtClean="0">
                <a:cs typeface="Calibri" pitchFamily="34" charset="0"/>
              </a:rPr>
              <a:t>eeyewear</a:t>
            </a:r>
            <a:r>
              <a:rPr lang="en-US" sz="1200" dirty="0" smtClean="0">
                <a:cs typeface="Calibri" pitchFamily="34" charset="0"/>
              </a:rPr>
              <a:t> Product Catalog classification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err="1" smtClean="0">
                <a:cs typeface="Calibri" pitchFamily="34" charset="0"/>
              </a:rPr>
              <a:t>eeyewear</a:t>
            </a:r>
            <a:r>
              <a:rPr lang="en-US" sz="1200" dirty="0" smtClean="0">
                <a:cs typeface="Calibri" pitchFamily="34" charset="0"/>
              </a:rPr>
              <a:t> Content Catalog classification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 Shipping method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Define Variants, Promotions, Vouchers 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Coming Soon Products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 Registration to add new attributes.</a:t>
            </a:r>
          </a:p>
          <a:p>
            <a:pPr marL="514350" lvl="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PDP to define new attributes</a:t>
            </a:r>
            <a:r>
              <a:rPr lang="en-US" sz="1200" dirty="0" smtClean="0">
                <a:solidFill>
                  <a:srgbClr val="0070C0"/>
                </a:solidFill>
                <a:cs typeface="Calibri" pitchFamily="34" charset="0"/>
              </a:rPr>
              <a:t>.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Customize Update My account tab for new attributes</a:t>
            </a:r>
            <a:endParaRPr lang="en-US" sz="1200" dirty="0" smtClean="0">
              <a:solidFill>
                <a:srgbClr val="0070C0"/>
              </a:solidFill>
              <a:cs typeface="Calibri" pitchFamily="34" charset="0"/>
            </a:endParaRP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Implement WCMS Cockpit Customization , Hot Folder</a:t>
            </a:r>
            <a:r>
              <a:rPr lang="en-US" sz="1200" dirty="0" smtClean="0">
                <a:solidFill>
                  <a:srgbClr val="0070C0"/>
                </a:solidFill>
                <a:cs typeface="Calibri" pitchFamily="34" charset="0"/>
              </a:rPr>
              <a:t>.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cs typeface="Calibri" pitchFamily="34" charset="0"/>
              </a:rPr>
              <a:t>Implement </a:t>
            </a:r>
            <a:r>
              <a:rPr lang="en-US" sz="1200" dirty="0" err="1" smtClean="0">
                <a:cs typeface="Calibri" pitchFamily="34" charset="0"/>
              </a:rPr>
              <a:t>PickUp</a:t>
            </a:r>
            <a:r>
              <a:rPr lang="en-US" sz="1200" dirty="0" smtClean="0">
                <a:cs typeface="Calibri" pitchFamily="34" charset="0"/>
              </a:rPr>
              <a:t> in Store</a:t>
            </a:r>
          </a:p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</p:spTree>
  </p:cSld>
  <p:clrMapOvr>
    <a:masterClrMapping/>
  </p:clrMapOvr>
  <p:transition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High Level System Architecture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179512" y="985292"/>
            <a:ext cx="864096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7" name="Rectangle 14"/>
          <p:cNvSpPr>
            <a:spLocks noChangeArrowheads="1"/>
          </p:cNvSpPr>
          <p:nvPr/>
        </p:nvSpPr>
        <p:spPr bwMode="auto">
          <a:xfrm>
            <a:off x="6660232" y="928674"/>
            <a:ext cx="1483668" cy="452437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US" sz="1200" dirty="0" smtClean="0">
                <a:latin typeface="Calibri"/>
                <a:ea typeface="Calibri"/>
                <a:cs typeface="Times New Roman"/>
              </a:rPr>
              <a:t>others</a:t>
            </a:r>
            <a:endParaRPr lang="en-IN" sz="1200" dirty="0" smtClean="0">
              <a:solidFill>
                <a:srgbClr val="000000"/>
              </a:solidFill>
              <a:latin typeface="Calibri" pitchFamily="34" charset="0"/>
            </a:endParaRPr>
          </a:p>
          <a:p>
            <a:endParaRPr lang="en-IN" dirty="0"/>
          </a:p>
        </p:txBody>
      </p:sp>
      <p:sp>
        <p:nvSpPr>
          <p:cNvPr id="58" name="Rectangle 15"/>
          <p:cNvSpPr>
            <a:spLocks noChangeArrowheads="1"/>
          </p:cNvSpPr>
          <p:nvPr/>
        </p:nvSpPr>
        <p:spPr bwMode="auto">
          <a:xfrm>
            <a:off x="4714900" y="938199"/>
            <a:ext cx="1782763" cy="452437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US" sz="1200" dirty="0" smtClean="0">
                <a:latin typeface="Calibri"/>
                <a:ea typeface="Calibri"/>
                <a:cs typeface="Times New Roman"/>
              </a:rPr>
              <a:t>web services</a:t>
            </a:r>
            <a:endParaRPr lang="en-IN" sz="1200" dirty="0" smtClean="0">
              <a:solidFill>
                <a:srgbClr val="000000"/>
              </a:solidFill>
              <a:latin typeface="Calibri" pitchFamily="34" charset="0"/>
            </a:endParaRPr>
          </a:p>
          <a:p>
            <a:endParaRPr lang="en-IN" dirty="0"/>
          </a:p>
        </p:txBody>
      </p:sp>
      <p:sp>
        <p:nvSpPr>
          <p:cNvPr id="59" name="Rectangle 16"/>
          <p:cNvSpPr>
            <a:spLocks noChangeArrowheads="1"/>
          </p:cNvSpPr>
          <p:nvPr/>
        </p:nvSpPr>
        <p:spPr bwMode="auto">
          <a:xfrm>
            <a:off x="3028975" y="938199"/>
            <a:ext cx="1584325" cy="45243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hmc</a:t>
            </a:r>
            <a:endParaRPr lang="en-IN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IN" dirty="0"/>
          </a:p>
        </p:txBody>
      </p:sp>
      <p:sp>
        <p:nvSpPr>
          <p:cNvPr id="60" name="Rectangle 17"/>
          <p:cNvSpPr>
            <a:spLocks noChangeArrowheads="1"/>
          </p:cNvSpPr>
          <p:nvPr/>
        </p:nvSpPr>
        <p:spPr bwMode="auto">
          <a:xfrm>
            <a:off x="1201763" y="1528748"/>
            <a:ext cx="5357812" cy="596900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 </a:t>
            </a: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business services</a:t>
            </a:r>
            <a:endParaRPr lang="en-IN" sz="1200" dirty="0" smtClean="0">
              <a:latin typeface="Arial" pitchFamily="34" charset="0"/>
              <a:ea typeface="Calibri"/>
              <a:cs typeface="Arial" pitchFamily="34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(Classification,Prices calculation,CMS..)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18"/>
          <p:cNvSpPr>
            <a:spLocks noChangeArrowheads="1"/>
          </p:cNvSpPr>
          <p:nvPr/>
        </p:nvSpPr>
        <p:spPr bwMode="auto">
          <a:xfrm>
            <a:off x="1201763" y="3463910"/>
            <a:ext cx="5357812" cy="363538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Persistence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19"/>
          <p:cNvSpPr>
            <a:spLocks noChangeArrowheads="1"/>
          </p:cNvSpPr>
          <p:nvPr/>
        </p:nvSpPr>
        <p:spPr bwMode="auto">
          <a:xfrm>
            <a:off x="1187624" y="3001516"/>
            <a:ext cx="5357812" cy="36512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ervice Layer Framework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20"/>
          <p:cNvSpPr>
            <a:spLocks noChangeArrowheads="1"/>
          </p:cNvSpPr>
          <p:nvPr/>
        </p:nvSpPr>
        <p:spPr bwMode="auto">
          <a:xfrm>
            <a:off x="1201763" y="2241535"/>
            <a:ext cx="5357812" cy="608013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IN" sz="1200" dirty="0" smtClean="0">
                <a:latin typeface="Calibri" pitchFamily="34" charset="0"/>
              </a:rPr>
              <a:t>eeyewear</a:t>
            </a:r>
            <a:r>
              <a:rPr lang="en-US" sz="1200" dirty="0" smtClean="0">
                <a:latin typeface="Calibri"/>
                <a:ea typeface="Calibri"/>
                <a:cs typeface="Times New Roman"/>
              </a:rPr>
              <a:t>infrastructure services</a:t>
            </a:r>
            <a:endParaRPr lang="en-IN" sz="1200" dirty="0" smtClean="0">
              <a:latin typeface="Calibri"/>
              <a:ea typeface="Calibri"/>
              <a:cs typeface="Times New Roman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US" sz="1200" dirty="0" smtClean="0">
                <a:latin typeface="Calibri"/>
                <a:ea typeface="Calibri"/>
                <a:cs typeface="Times New Roman"/>
              </a:rPr>
              <a:t>(Cache,Security,Transaction,Session)</a:t>
            </a:r>
            <a:endParaRPr lang="en-IN" sz="1200" dirty="0" smtClean="0">
              <a:latin typeface="Calibri"/>
              <a:ea typeface="Calibri"/>
              <a:cs typeface="Times New Roman"/>
            </a:endParaRPr>
          </a:p>
          <a:p>
            <a:pPr algn="ctr">
              <a:lnSpc>
                <a:spcPct val="150000"/>
              </a:lnSpc>
            </a:pPr>
            <a:endParaRPr lang="en-IN" dirty="0"/>
          </a:p>
        </p:txBody>
      </p:sp>
      <p:sp>
        <p:nvSpPr>
          <p:cNvPr id="64" name="Rectangle 21"/>
          <p:cNvSpPr>
            <a:spLocks noChangeArrowheads="1"/>
          </p:cNvSpPr>
          <p:nvPr/>
        </p:nvSpPr>
        <p:spPr bwMode="auto">
          <a:xfrm>
            <a:off x="6705625" y="1528748"/>
            <a:ext cx="1385888" cy="2264856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 smtClean="0">
              <a:latin typeface="Calibri" pitchFamily="34" charset="0"/>
            </a:endParaRPr>
          </a:p>
          <a:p>
            <a:endParaRPr lang="en-US" sz="1100" dirty="0" smtClean="0">
              <a:latin typeface="Calibri" pitchFamily="34" charset="0"/>
            </a:endParaRPr>
          </a:p>
          <a:p>
            <a:endParaRPr lang="en-US" sz="1100" dirty="0" smtClean="0">
              <a:latin typeface="Calibri" pitchFamily="34" charset="0"/>
            </a:endParaRPr>
          </a:p>
          <a:p>
            <a:pPr algn="ctr">
              <a:lnSpc>
                <a:spcPct val="200000"/>
              </a:lnSpc>
            </a:pPr>
            <a:r>
              <a:rPr lang="en-US" sz="1100" dirty="0" smtClean="0">
                <a:latin typeface="Calibri" pitchFamily="34" charset="0"/>
              </a:rPr>
              <a:t> </a:t>
            </a: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Model Classes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22"/>
          <p:cNvSpPr>
            <a:spLocks noChangeArrowheads="1"/>
          </p:cNvSpPr>
          <p:nvPr/>
        </p:nvSpPr>
        <p:spPr bwMode="auto">
          <a:xfrm>
            <a:off x="6732240" y="4009628"/>
            <a:ext cx="1438275" cy="363538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3"/>
          </a:lnRef>
          <a:fillRef idx="1003">
            <a:schemeClr val="lt1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50000"/>
              </a:lnSpc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IN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Items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AutoShape 23"/>
          <p:cNvSpPr>
            <a:spLocks noChangeArrowheads="1"/>
          </p:cNvSpPr>
          <p:nvPr/>
        </p:nvSpPr>
        <p:spPr bwMode="auto">
          <a:xfrm>
            <a:off x="3419872" y="4154472"/>
            <a:ext cx="1421035" cy="968375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200000"/>
              </a:lnSpc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HSQLDatabase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767699" y="5331197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5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8" name="Up Arrow 67"/>
          <p:cNvSpPr/>
          <p:nvPr/>
        </p:nvSpPr>
        <p:spPr>
          <a:xfrm>
            <a:off x="4211960" y="3865612"/>
            <a:ext cx="45719" cy="360040"/>
          </a:xfrm>
          <a:prstGeom prst="up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Down Arrow 68"/>
          <p:cNvSpPr/>
          <p:nvPr/>
        </p:nvSpPr>
        <p:spPr>
          <a:xfrm>
            <a:off x="3923928" y="3793604"/>
            <a:ext cx="45719" cy="360040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1475656" y="913284"/>
            <a:ext cx="1440160" cy="50405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Eeyewear cockpi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16016" y="913284"/>
            <a:ext cx="1800200" cy="50405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Web servic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60232" y="913284"/>
            <a:ext cx="1512168" cy="50405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ther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1187624" y="2209428"/>
            <a:ext cx="5400600" cy="6480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IN" sz="1200" dirty="0" smtClean="0">
                <a:latin typeface="Arial" pitchFamily="34" charset="0"/>
                <a:cs typeface="Arial" pitchFamily="34" charset="0"/>
              </a:rPr>
              <a:t>eeyewear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I</a:t>
            </a: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nfrastructure services</a:t>
            </a:r>
            <a:endParaRPr lang="en-IN" sz="1200" dirty="0" smtClean="0">
              <a:latin typeface="Arial" pitchFamily="34" charset="0"/>
              <a:ea typeface="Calibri"/>
              <a:cs typeface="Arial" pitchFamily="34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US" sz="1200" dirty="0" smtClean="0">
                <a:latin typeface="Arial" pitchFamily="34" charset="0"/>
                <a:ea typeface="Calibri"/>
                <a:cs typeface="Arial" pitchFamily="34" charset="0"/>
              </a:rPr>
              <a:t>(Cache,Security,Transaction,Session)</a:t>
            </a:r>
            <a:endParaRPr lang="en-IN" sz="1200" dirty="0" smtClean="0">
              <a:latin typeface="Arial" pitchFamily="34" charset="0"/>
              <a:ea typeface="Calibri"/>
              <a:cs typeface="Arial" pitchFamily="34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endParaRPr lang="en-IN" sz="1200" dirty="0"/>
          </a:p>
        </p:txBody>
      </p:sp>
    </p:spTree>
  </p:cSld>
  <p:clrMapOvr>
    <a:masterClrMapping/>
  </p:clrMapOvr>
  <p:transition>
    <p:split orient="vert"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7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8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9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0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41" presetID="3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3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4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5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6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47" presetID="3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9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0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51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52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3" presetID="3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55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6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57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58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9" presetID="3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61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62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63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64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67699" y="5331197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6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Sequence Diagram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79512" y="985292"/>
            <a:ext cx="864096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43174" y="1057300"/>
            <a:ext cx="4261073" cy="419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cover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70C0"/>
                </a:solidFill>
                <a:latin typeface="Calibri" pitchFamily="34" charset="0"/>
              </a:rPr>
              <a:t>Environment Set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9999"/>
            <a:ext cx="9144000" cy="3313685"/>
          </a:xfrm>
        </p:spPr>
        <p:txBody>
          <a:bodyPr/>
          <a:lstStyle/>
          <a:p>
            <a:r>
              <a:rPr lang="en-US" sz="1400" b="1" dirty="0" smtClean="0"/>
              <a:t>Installing Java</a:t>
            </a:r>
            <a:endParaRPr lang="en-US" b="1" dirty="0" smtClean="0"/>
          </a:p>
          <a:p>
            <a:r>
              <a:rPr lang="en-US" sz="1100" dirty="0" smtClean="0"/>
              <a:t>If you do not have a JDK installed, download the latest version of JDK 8 from Oracle. </a:t>
            </a:r>
          </a:p>
          <a:p>
            <a:r>
              <a:rPr lang="en-US" sz="1100" dirty="0" smtClean="0"/>
              <a:t>Select the JDK you require and follow the installation instructions</a:t>
            </a:r>
          </a:p>
          <a:p>
            <a:r>
              <a:rPr lang="en-US" sz="1100" dirty="0" smtClean="0"/>
              <a:t>If not already done, set your JAVA_HOME environment variable to point to the JDK directory</a:t>
            </a:r>
          </a:p>
          <a:p>
            <a:r>
              <a:rPr lang="en-US" sz="1100" dirty="0" smtClean="0"/>
              <a:t>Open a command line (with administrator rights) and type </a:t>
            </a:r>
            <a:r>
              <a:rPr lang="en-US" sz="1100" b="1" dirty="0" err="1" smtClean="0"/>
              <a:t>javac</a:t>
            </a:r>
            <a:r>
              <a:rPr lang="en-US" sz="1100" b="1" dirty="0" smtClean="0"/>
              <a:t> -version</a:t>
            </a:r>
            <a:r>
              <a:rPr lang="en-US" sz="1100" dirty="0" smtClean="0"/>
              <a:t>.</a:t>
            </a:r>
          </a:p>
          <a:p>
            <a:endParaRPr lang="en-US" sz="1400" b="1" dirty="0" smtClean="0"/>
          </a:p>
          <a:p>
            <a:r>
              <a:rPr lang="en-US" sz="1400" b="1" dirty="0" smtClean="0"/>
              <a:t>How To set Environment variable</a:t>
            </a:r>
          </a:p>
          <a:p>
            <a:r>
              <a:rPr lang="en-US" sz="1100" dirty="0" smtClean="0"/>
              <a:t>From the desktop, right click the </a:t>
            </a:r>
            <a:r>
              <a:rPr lang="en-US" sz="1100" b="1" dirty="0" smtClean="0"/>
              <a:t>Computer</a:t>
            </a:r>
            <a:r>
              <a:rPr lang="en-US" sz="1100" dirty="0" smtClean="0"/>
              <a:t> icon.</a:t>
            </a:r>
          </a:p>
          <a:p>
            <a:r>
              <a:rPr lang="en-US" sz="1100" dirty="0" smtClean="0"/>
              <a:t>Choose </a:t>
            </a:r>
            <a:r>
              <a:rPr lang="en-US" sz="1100" b="1" dirty="0" smtClean="0"/>
              <a:t>Properties</a:t>
            </a:r>
            <a:r>
              <a:rPr lang="en-US" sz="1100" dirty="0" smtClean="0"/>
              <a:t> from the context menu.</a:t>
            </a:r>
          </a:p>
          <a:p>
            <a:r>
              <a:rPr lang="en-US" sz="1100" dirty="0" smtClean="0"/>
              <a:t>Click the </a:t>
            </a:r>
            <a:r>
              <a:rPr lang="en-US" sz="1100" b="1" dirty="0" smtClean="0"/>
              <a:t>Advanced system settings</a:t>
            </a:r>
            <a:r>
              <a:rPr lang="en-US" sz="1100" dirty="0" smtClean="0"/>
              <a:t> link.</a:t>
            </a:r>
          </a:p>
          <a:p>
            <a:r>
              <a:rPr lang="en-US" sz="1100" dirty="0" smtClean="0"/>
              <a:t>Click </a:t>
            </a:r>
            <a:r>
              <a:rPr lang="en-US" sz="1100" b="1" dirty="0" smtClean="0"/>
              <a:t>Environment Variables</a:t>
            </a:r>
            <a:r>
              <a:rPr lang="en-US" sz="1100" dirty="0" smtClean="0"/>
              <a:t>. In the section </a:t>
            </a:r>
            <a:r>
              <a:rPr lang="en-US" sz="1100" b="1" dirty="0" smtClean="0"/>
              <a:t>System Variables</a:t>
            </a:r>
            <a:r>
              <a:rPr lang="en-US" sz="1100" dirty="0" smtClean="0"/>
              <a:t>, find the</a:t>
            </a:r>
          </a:p>
          <a:p>
            <a:pPr>
              <a:buNone/>
            </a:pPr>
            <a:r>
              <a:rPr lang="en-US" sz="1100" dirty="0" smtClean="0"/>
              <a:t>       PATH environment variable and select it. Click </a:t>
            </a:r>
            <a:r>
              <a:rPr lang="en-US" sz="1100" b="1" dirty="0" smtClean="0"/>
              <a:t>Edit</a:t>
            </a:r>
            <a:r>
              <a:rPr lang="en-US" sz="1100" dirty="0" smtClean="0"/>
              <a:t>. If the PATH environment variable does not exist, click New.</a:t>
            </a:r>
          </a:p>
          <a:p>
            <a:r>
              <a:rPr lang="en-US" sz="1100" dirty="0" smtClean="0"/>
              <a:t>In the </a:t>
            </a:r>
            <a:r>
              <a:rPr lang="en-US" sz="1100" b="1" dirty="0" smtClean="0"/>
              <a:t>Edit System Variable</a:t>
            </a:r>
            <a:r>
              <a:rPr lang="en-US" sz="1100" dirty="0" smtClean="0"/>
              <a:t> (or </a:t>
            </a:r>
            <a:r>
              <a:rPr lang="en-US" sz="1100" b="1" dirty="0" smtClean="0"/>
              <a:t>New System Variable</a:t>
            </a:r>
            <a:r>
              <a:rPr lang="en-US" sz="1100" dirty="0" smtClean="0"/>
              <a:t>) window, specify the value of the </a:t>
            </a:r>
            <a:r>
              <a:rPr lang="en-US" sz="1100" dirty="0" err="1" smtClean="0"/>
              <a:t>PATHenvironment</a:t>
            </a:r>
            <a:r>
              <a:rPr lang="en-US" sz="1100" dirty="0" smtClean="0"/>
              <a:t> variable. Click </a:t>
            </a:r>
            <a:r>
              <a:rPr lang="en-US" sz="1100" b="1" dirty="0" smtClean="0"/>
              <a:t>OK</a:t>
            </a:r>
            <a:r>
              <a:rPr lang="en-US" sz="1100" dirty="0" smtClean="0"/>
              <a:t>. Close all remaining windows by clicking </a:t>
            </a:r>
            <a:r>
              <a:rPr lang="en-US" sz="1100" b="1" dirty="0" err="1" smtClean="0"/>
              <a:t>OK</a:t>
            </a:r>
            <a:r>
              <a:rPr lang="en-US" sz="1100" dirty="0" err="1" smtClean="0"/>
              <a:t>.Reopen</a:t>
            </a:r>
            <a:r>
              <a:rPr lang="en-US" sz="1100" dirty="0" smtClean="0"/>
              <a:t> Command prompt window, and run your java code</a:t>
            </a:r>
            <a:r>
              <a:rPr lang="en-US" dirty="0" smtClean="0"/>
              <a:t>.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</p:spTree>
  </p:cSld>
  <p:clrMapOvr>
    <a:masterClrMapping/>
  </p:clrMapOvr>
  <p:transition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70C0"/>
                </a:solidFill>
                <a:latin typeface="Calibri" pitchFamily="34" charset="0"/>
              </a:rPr>
              <a:t> Instal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0" y="913284"/>
            <a:ext cx="4211960" cy="2915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en-US" sz="900" dirty="0" smtClean="0">
                <a:cs typeface="Arial" pitchFamily="34" charset="0"/>
              </a:rPr>
              <a:t>Approach for installation. </a:t>
            </a:r>
          </a:p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900" dirty="0" smtClean="0">
              <a:cs typeface="Arial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en-US" sz="900" dirty="0" smtClean="0">
                <a:cs typeface="Arial" pitchFamily="34" charset="0"/>
              </a:rPr>
              <a:t>To get started, we'll download and install the hybris Commerce Suite.</a:t>
            </a: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r>
              <a:rPr lang="en-US" sz="900" dirty="0" smtClean="0">
                <a:cs typeface="Arial" pitchFamily="34" charset="0"/>
              </a:rPr>
              <a:t>Setup Hybris 6.0 environment.</a:t>
            </a:r>
          </a:p>
          <a:p>
            <a:pPr marL="850001" lvl="1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r>
              <a:rPr lang="en-US" sz="900" dirty="0" smtClean="0">
                <a:cs typeface="Arial" pitchFamily="34" charset="0"/>
              </a:rPr>
              <a:t>Extract zip file.</a:t>
            </a:r>
          </a:p>
          <a:p>
            <a:pPr lvl="0"/>
            <a:r>
              <a:rPr lang="en-US" sz="900" dirty="0" smtClean="0">
                <a:cs typeface="Arial" pitchFamily="34" charset="0"/>
              </a:rPr>
              <a:t>                      Navigate to the </a:t>
            </a:r>
            <a:r>
              <a:rPr lang="en-US" sz="900" i="1" dirty="0" smtClean="0">
                <a:cs typeface="Arial" pitchFamily="34" charset="0"/>
              </a:rPr>
              <a:t>{HYBRIS_HOME}</a:t>
            </a:r>
            <a:r>
              <a:rPr lang="en-US" sz="900" dirty="0" smtClean="0">
                <a:cs typeface="Arial" pitchFamily="34" charset="0"/>
              </a:rPr>
              <a:t>/installer&gt;</a:t>
            </a:r>
            <a:r>
              <a:rPr lang="en-US" sz="900" b="1" dirty="0" smtClean="0">
                <a:cs typeface="Arial" pitchFamily="34" charset="0"/>
              </a:rPr>
              <a:t>install.bat -r </a:t>
            </a:r>
            <a:r>
              <a:rPr lang="en-US" sz="900" b="1" dirty="0" smtClean="0">
                <a:cs typeface="Arial" pitchFamily="34" charset="0"/>
              </a:rPr>
              <a:t>b2b_acc </a:t>
            </a:r>
            <a:r>
              <a:rPr lang="en-US" sz="900" b="1" dirty="0" smtClean="0">
                <a:cs typeface="Arial" pitchFamily="34" charset="0"/>
              </a:rPr>
              <a:t>(OR) install.bat -r </a:t>
            </a:r>
            <a:r>
              <a:rPr lang="en-US" sz="900" b="1" dirty="0" smtClean="0">
                <a:cs typeface="Arial" pitchFamily="34" charset="0"/>
              </a:rPr>
              <a:t>b2b_acc_plus</a:t>
            </a:r>
            <a:endParaRPr lang="en-US" sz="900" dirty="0" smtClean="0">
              <a:cs typeface="Arial" pitchFamily="34" charset="0"/>
            </a:endParaRPr>
          </a:p>
          <a:p>
            <a:r>
              <a:rPr lang="en-US" sz="900" dirty="0" smtClean="0">
                <a:cs typeface="Arial" pitchFamily="34" charset="0"/>
              </a:rPr>
              <a:t> This command to  generate config, data, log, roles and temp folders</a:t>
            </a:r>
          </a:p>
          <a:p>
            <a:pPr marL="850001" lvl="1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r>
              <a:rPr lang="en-US" sz="900" dirty="0" smtClean="0">
                <a:cs typeface="Arial" pitchFamily="34" charset="0"/>
              </a:rPr>
              <a:t>Open command prompt: Change to the </a:t>
            </a:r>
            <a:r>
              <a:rPr lang="en-US" sz="900" b="1" dirty="0" smtClean="0">
                <a:cs typeface="Arial" pitchFamily="34" charset="0"/>
              </a:rPr>
              <a:t>hybris/bin/platform&gt;setant.env</a:t>
            </a:r>
            <a:r>
              <a:rPr lang="en-US" sz="900" dirty="0" smtClean="0">
                <a:cs typeface="Arial" pitchFamily="34" charset="0"/>
              </a:rPr>
              <a:t> &amp; Run </a:t>
            </a:r>
            <a:r>
              <a:rPr lang="en-US" sz="900" b="1" dirty="0" smtClean="0">
                <a:cs typeface="Arial" pitchFamily="34" charset="0"/>
              </a:rPr>
              <a:t>ant clean all</a:t>
            </a:r>
            <a:endParaRPr lang="en-US" sz="900" dirty="0" smtClean="0">
              <a:cs typeface="Arial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To create a completely new storefront (</a:t>
            </a:r>
            <a:r>
              <a:rPr lang="en-US" sz="900" dirty="0" err="1" smtClean="0">
                <a:solidFill>
                  <a:srgbClr val="000000"/>
                </a:solidFill>
                <a:cs typeface="Arial" pitchFamily="34" charset="0"/>
              </a:rPr>
              <a:t>eeyewear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Store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 ).</a:t>
            </a:r>
          </a:p>
          <a:p>
            <a:r>
              <a:rPr lang="en-US" sz="900" dirty="0" smtClean="0">
                <a:cs typeface="Arial" pitchFamily="34" charset="0"/>
              </a:rPr>
              <a:t> 	</a:t>
            </a:r>
            <a:r>
              <a:rPr lang="en-US" sz="900" i="1" dirty="0" smtClean="0">
                <a:cs typeface="Arial" pitchFamily="34" charset="0"/>
              </a:rPr>
              <a:t>{HYBRIS_HOME}</a:t>
            </a:r>
            <a:r>
              <a:rPr lang="en-US" sz="900" dirty="0" smtClean="0">
                <a:cs typeface="Arial" pitchFamily="34" charset="0"/>
              </a:rPr>
              <a:t>\hybris\bin\platform&gt;ant modulegen -Dinput.module=accelerator -Dinput.name=e</a:t>
            </a:r>
            <a:r>
              <a:rPr lang="en-IN" sz="900" dirty="0" smtClean="0"/>
              <a:t>eyewear</a:t>
            </a:r>
            <a:endParaRPr lang="en-US" sz="900" dirty="0" smtClean="0">
              <a:cs typeface="Arial" pitchFamily="34" charset="0"/>
            </a:endParaRPr>
          </a:p>
          <a:p>
            <a:r>
              <a:rPr lang="en-US" sz="900" dirty="0" smtClean="0">
                <a:cs typeface="Arial" pitchFamily="34" charset="0"/>
              </a:rPr>
              <a:t> 	-Dinput.package=com.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 e</a:t>
            </a:r>
            <a:r>
              <a:rPr lang="en-IN" sz="900" dirty="0" smtClean="0"/>
              <a:t>eyewear</a:t>
            </a:r>
            <a:r>
              <a:rPr lang="en-US" sz="900" dirty="0" smtClean="0">
                <a:cs typeface="Arial" pitchFamily="34" charset="0"/>
              </a:rPr>
              <a:t>-Dinput.template=develop</a:t>
            </a:r>
          </a:p>
          <a:p>
            <a:r>
              <a:rPr lang="en-US" sz="900" b="1" dirty="0" smtClean="0">
                <a:cs typeface="Arial" pitchFamily="34" charset="0"/>
              </a:rPr>
              <a:t> 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                                                                </a:t>
            </a:r>
          </a:p>
          <a:p>
            <a:r>
              <a:rPr lang="en-US" sz="900" dirty="0" smtClean="0">
                <a:cs typeface="Arial" pitchFamily="34" charset="0"/>
              </a:rPr>
              <a:t>This command generates 7 new extensions.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Add those extensions under  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config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/localextensions.xml.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79512" y="4009628"/>
          <a:ext cx="3744416" cy="11521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4416"/>
              </a:tblGrid>
              <a:tr h="299408">
                <a:tc>
                  <a:txBody>
                    <a:bodyPr/>
                    <a:lstStyle/>
                    <a:p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config/local.properties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852720"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e</a:t>
                      </a:r>
                      <a:r>
                        <a:rPr lang="en-IN" sz="900" dirty="0" smtClean="0">
                          <a:latin typeface="+mn-lt"/>
                        </a:rPr>
                        <a:t>eyewears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orefront.webroot=/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storefront</a:t>
                      </a:r>
                      <a:b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</a:b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storefrontContextRoot=/eeyewearstorefront</a:t>
                      </a:r>
                      <a:b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</a:b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website.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.http=http://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.local:9001/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sorefront</a:t>
                      </a:r>
                      <a:b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</a:b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website.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.https=https://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local:9002/e</a:t>
                      </a:r>
                      <a:r>
                        <a:rPr lang="en-IN" sz="900" dirty="0" smtClean="0">
                          <a:latin typeface="+mn-lt"/>
                        </a:rPr>
                        <a:t>eyewear</a:t>
                      </a:r>
                      <a:r>
                        <a:rPr lang="en-US" sz="900" dirty="0" err="1" smtClean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storefront</a:t>
                      </a:r>
                      <a:endParaRPr lang="en-IN" sz="900" dirty="0" smtClean="0"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3995936" y="1201316"/>
            <a:ext cx="4824536" cy="266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After this step you should have 7 </a:t>
            </a:r>
            <a:r>
              <a:rPr lang="en-US" sz="900" b="1" dirty="0" smtClean="0">
                <a:solidFill>
                  <a:srgbClr val="000000"/>
                </a:solidFill>
                <a:cs typeface="Calibri" pitchFamily="34" charset="0"/>
              </a:rPr>
              <a:t>custom</a:t>
            </a: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 extensions in custom folder, that have been adopted to your project's namespace.</a:t>
            </a: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Ø"/>
            </a:pPr>
            <a:endParaRPr lang="en-US" sz="900" dirty="0" smtClean="0">
              <a:solidFill>
                <a:srgbClr val="000000"/>
              </a:solidFill>
              <a:cs typeface="Calibri" pitchFamily="34" charset="0"/>
            </a:endParaRP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score 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cockpits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/eeyewearfacades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/eeyewearfulfilmentprocess 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/eeyewearnitialdata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/eeyewearstorefront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/custom/eeyewear/eeyeweartest</a:t>
            </a:r>
          </a:p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lang="en-US" sz="900" dirty="0" smtClean="0">
              <a:solidFill>
                <a:srgbClr val="000000"/>
              </a:solidFill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     </a:t>
            </a:r>
            <a:r>
              <a:rPr lang="en-US" sz="900" dirty="0" smtClean="0">
                <a:solidFill>
                  <a:srgbClr val="000000"/>
                </a:solidFill>
                <a:sym typeface="Wingdings" pitchFamily="2" charset="2"/>
              </a:rPr>
              <a:t></a:t>
            </a:r>
            <a:r>
              <a:rPr lang="en-US" sz="900" dirty="0" smtClean="0"/>
              <a:t>Setup new eclipse workspace and import the extensions mentioned in </a:t>
            </a:r>
            <a:r>
              <a:rPr lang="en-US" sz="900" b="1" dirty="0" smtClean="0"/>
              <a:t>localextensions.xml</a:t>
            </a:r>
            <a:r>
              <a:rPr lang="en-US" sz="900" dirty="0" smtClean="0"/>
              <a:t>.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/>
              <a:t>We can define a </a:t>
            </a:r>
            <a:r>
              <a:rPr lang="en-US" sz="900" b="1" dirty="0" smtClean="0"/>
              <a:t>custom</a:t>
            </a:r>
            <a:r>
              <a:rPr lang="en-US" sz="900" dirty="0" smtClean="0"/>
              <a:t> webroot for the store:</a:t>
            </a:r>
          </a:p>
          <a:p>
            <a:pPr marL="85725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900" dirty="0" smtClean="0"/>
              <a:t>Modify this </a:t>
            </a:r>
            <a:r>
              <a:rPr lang="en-US" sz="900" dirty="0" err="1" smtClean="0">
                <a:solidFill>
                  <a:srgbClr val="000000"/>
                </a:solidFill>
                <a:cs typeface="Calibri" pitchFamily="34" charset="0"/>
              </a:rPr>
              <a:t>eeyewear</a:t>
            </a:r>
            <a:r>
              <a:rPr lang="en-US" sz="900" dirty="0" err="1" smtClean="0"/>
              <a:t>storefront</a:t>
            </a:r>
            <a:r>
              <a:rPr lang="en-US" sz="900" dirty="0" smtClean="0"/>
              <a:t>/</a:t>
            </a:r>
            <a:r>
              <a:rPr lang="en-US" sz="900" b="1" dirty="0" smtClean="0"/>
              <a:t>extensioninfo.xml</a:t>
            </a:r>
            <a:r>
              <a:rPr lang="en-US" sz="900" dirty="0" smtClean="0"/>
              <a:t>.</a:t>
            </a:r>
          </a:p>
          <a:p>
            <a:pPr marL="1246876" lvl="3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900" dirty="0" smtClean="0"/>
              <a:t>&lt;webmodule jspcompile="false" </a:t>
            </a:r>
            <a:r>
              <a:rPr lang="en-US" sz="900" b="1" dirty="0" smtClean="0"/>
              <a:t>webroot="/</a:t>
            </a:r>
            <a:r>
              <a:rPr lang="en-US" sz="900" dirty="0" smtClean="0">
                <a:solidFill>
                  <a:srgbClr val="000000"/>
                </a:solidFill>
                <a:cs typeface="Calibri" pitchFamily="34" charset="0"/>
              </a:rPr>
              <a:t>eeyewear</a:t>
            </a:r>
            <a:r>
              <a:rPr lang="en-US" sz="900" dirty="0" smtClean="0">
                <a:solidFill>
                  <a:srgbClr val="000000"/>
                </a:solidFill>
                <a:ea typeface="Times New Roman"/>
                <a:cs typeface="Tahoma"/>
              </a:rPr>
              <a:t>storefront</a:t>
            </a:r>
            <a:r>
              <a:rPr lang="en-US" sz="900" b="1" dirty="0" smtClean="0"/>
              <a:t>"</a:t>
            </a:r>
            <a:r>
              <a:rPr lang="en-US" sz="900" dirty="0" smtClean="0"/>
              <a:t>/&gt;</a:t>
            </a:r>
            <a:endParaRPr lang="en-US" sz="900" dirty="0"/>
          </a:p>
        </p:txBody>
      </p:sp>
      <p:sp>
        <p:nvSpPr>
          <p:cNvPr id="10" name="Rectangle 9"/>
          <p:cNvSpPr/>
          <p:nvPr/>
        </p:nvSpPr>
        <p:spPr>
          <a:xfrm>
            <a:off x="5148064" y="4009628"/>
            <a:ext cx="32403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 addition, we have to modify  </a:t>
            </a:r>
            <a:r>
              <a:rPr lang="en-IN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ocal. properties</a:t>
            </a: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 to </a:t>
            </a:r>
            <a:r>
              <a:rPr lang="en-IN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verride</a:t>
            </a: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roperties defined in </a:t>
            </a:r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yewears</a:t>
            </a:r>
            <a:r>
              <a:rPr lang="en-IN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refront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55976" y="4369669"/>
            <a:ext cx="4788024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w </a:t>
            </a:r>
            <a:r>
              <a:rPr lang="en-IN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build</a:t>
            </a:r>
            <a:r>
              <a:rPr lang="en-IN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he code base (ant clean all) </a:t>
            </a:r>
          </a:p>
          <a:p>
            <a:pPr marL="2317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Navigate to  Platform</a:t>
            </a:r>
          </a:p>
          <a:p>
            <a:pPr marL="2317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Once ant clean all has completed successfully, start the server  &amp; </a:t>
            </a:r>
            <a:r>
              <a:rPr lang="en-US" sz="900" b="1" dirty="0" smtClean="0">
                <a:latin typeface="Arial" pitchFamily="34" charset="0"/>
                <a:cs typeface="Arial" pitchFamily="34" charset="0"/>
              </a:rPr>
              <a:t>initializ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your system from </a:t>
            </a:r>
            <a:r>
              <a:rPr lang="en-US" sz="900" b="1" dirty="0" smtClean="0">
                <a:latin typeface="Arial" pitchFamily="34" charset="0"/>
                <a:cs typeface="Arial" pitchFamily="34" charset="0"/>
              </a:rPr>
              <a:t>Hybris Administration Console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( </a:t>
            </a:r>
            <a:r>
              <a:rPr lang="en-US" sz="900" dirty="0" smtClean="0">
                <a:solidFill>
                  <a:srgbClr val="7030A0"/>
                </a:solidFill>
                <a:latin typeface="Arial" pitchFamily="34" charset="0"/>
                <a:cs typeface="Arial" pitchFamily="34" charset="0"/>
                <a:hlinkClick r:id="rId2"/>
              </a:rPr>
              <a:t>http://localhost:9001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).</a:t>
            </a:r>
          </a:p>
        </p:txBody>
      </p:sp>
    </p:spTree>
  </p:cSld>
  <p:clrMapOvr>
    <a:masterClrMapping/>
  </p:clrMapOvr>
  <p:transition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sv-SE" dirty="0" smtClean="0">
                <a:latin typeface="Cambria Math" pitchFamily="18" charset="0"/>
                <a:ea typeface="Cambria Math" pitchFamily="18" charset="0"/>
              </a:rPr>
              <a:t>		</a:t>
            </a:r>
            <a:br>
              <a:rPr lang="sv-SE" dirty="0" smtClean="0">
                <a:latin typeface="Cambria Math" pitchFamily="18" charset="0"/>
                <a:ea typeface="Cambria Math" pitchFamily="18" charset="0"/>
              </a:rPr>
            </a:br>
            <a:r>
              <a:rPr lang="en-US" dirty="0" smtClean="0">
                <a:latin typeface="Cambria Math" pitchFamily="18" charset="0"/>
                <a:ea typeface="Cambria Math" pitchFamily="18" charset="0"/>
              </a:rPr>
              <a:t>Implementation Approach 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79512" y="985292"/>
            <a:ext cx="864096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850001" lvl="1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01977" y="5344374"/>
            <a:ext cx="219051" cy="158377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2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9</a:t>
            </a:fld>
            <a:endParaRPr lang="en-US" sz="1200" noProof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black">
          <a:xfrm>
            <a:off x="152400" y="15240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marL="608790" marR="0" lvl="0" indent="-608790" algn="ctr" defTabSz="77925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		</a:t>
            </a:r>
            <a:r>
              <a:rPr kumimoji="0" lang="en-US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 </a:t>
            </a:r>
            <a:endParaRPr kumimoji="0" lang="sv-SE" sz="2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323528" y="913284"/>
            <a:ext cx="2592288" cy="4400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688975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13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800" b="1" dirty="0" smtClean="0">
                <a:cs typeface="Times New Roman" pitchFamily="18" charset="0"/>
              </a:rPr>
              <a:t>Customize Initialization Process to Develop </a:t>
            </a:r>
            <a:r>
              <a:rPr lang="en-US" sz="800" b="1" dirty="0" err="1" smtClean="0">
                <a:cs typeface="Times New Roman" pitchFamily="18" charset="0"/>
              </a:rPr>
              <a:t>eeyewear</a:t>
            </a:r>
            <a:r>
              <a:rPr lang="en-US" sz="800" b="1" dirty="0" smtClean="0">
                <a:cs typeface="Times New Roman" pitchFamily="18" charset="0"/>
              </a:rPr>
              <a:t> Store: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dirty="0" smtClean="0"/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800" dirty="0" smtClean="0">
                <a:cs typeface="Times New Roman" pitchFamily="18" charset="0"/>
              </a:rPr>
              <a:t>In </a:t>
            </a:r>
            <a:r>
              <a:rPr lang="en-US" sz="800" b="1" dirty="0" smtClean="0">
                <a:cs typeface="Times New Roman" pitchFamily="18" charset="0"/>
              </a:rPr>
              <a:t>CoreSystemSetup.java,  </a:t>
            </a:r>
            <a:r>
              <a:rPr lang="en-US" sz="800" dirty="0" smtClean="0">
                <a:cs typeface="Times New Roman" pitchFamily="18" charset="0"/>
              </a:rPr>
              <a:t>an</a:t>
            </a:r>
            <a:r>
              <a:rPr lang="en-US" sz="800" i="1" dirty="0" smtClean="0">
                <a:cs typeface="Times New Roman" pitchFamily="18" charset="0"/>
              </a:rPr>
              <a:t> importImpexFile()</a:t>
            </a:r>
            <a:r>
              <a:rPr lang="en-US" sz="800" dirty="0" smtClean="0">
                <a:cs typeface="Times New Roman" pitchFamily="18" charset="0"/>
              </a:rPr>
              <a:t> is called specifying the desired impex file which will have to be added to the </a:t>
            </a:r>
            <a:r>
              <a:rPr lang="en-US" sz="800" i="1" dirty="0" smtClean="0">
                <a:cs typeface="Times New Roman" pitchFamily="18" charset="0"/>
              </a:rPr>
              <a:t>createProjectData()</a:t>
            </a:r>
            <a:r>
              <a:rPr lang="en-US" sz="800" dirty="0" smtClean="0">
                <a:cs typeface="Times New Roman" pitchFamily="18" charset="0"/>
              </a:rPr>
              <a:t> method.</a:t>
            </a: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b="1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b="1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b="1" dirty="0" smtClean="0">
              <a:cs typeface="Times New Roman" pitchFamily="18" charset="0"/>
            </a:endParaRPr>
          </a:p>
          <a:p>
            <a:pPr marL="457200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Arial" pitchFamily="34" charset="0"/>
              <a:buChar char="•"/>
            </a:pPr>
            <a:r>
              <a:rPr lang="en-US" sz="800" dirty="0" smtClean="0">
                <a:cs typeface="Times New Roman" pitchFamily="18" charset="0"/>
              </a:rPr>
              <a:t>In</a:t>
            </a:r>
            <a:r>
              <a:rPr lang="en-US" sz="800" b="1" dirty="0" smtClean="0">
                <a:cs typeface="Times New Roman" pitchFamily="18" charset="0"/>
              </a:rPr>
              <a:t> InitialDataSystemSetup.java</a:t>
            </a:r>
            <a:r>
              <a:rPr lang="en-US" sz="800" dirty="0" smtClean="0">
                <a:cs typeface="Times New Roman" pitchFamily="18" charset="0"/>
              </a:rPr>
              <a:t>, the </a:t>
            </a:r>
            <a:r>
              <a:rPr lang="en-US" sz="800" i="1" dirty="0" smtClean="0">
                <a:cs typeface="Times New Roman" pitchFamily="18" charset="0"/>
              </a:rPr>
              <a:t>createProjectData() </a:t>
            </a:r>
            <a:r>
              <a:rPr lang="en-US" sz="800" dirty="0" smtClean="0">
                <a:cs typeface="Times New Roman" pitchFamily="18" charset="0"/>
              </a:rPr>
              <a:t>method delegates the import operation to the CoreDataImportService and SampleDataImportService classes.</a:t>
            </a:r>
          </a:p>
          <a:p>
            <a:pPr marL="1239627" lvl="2" indent="-231775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endParaRPr lang="en-US" sz="800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800" dirty="0" smtClean="0">
              <a:cs typeface="Times New Roman" pitchFamily="18" charset="0"/>
            </a:endParaRPr>
          </a:p>
          <a:p>
            <a:pPr marL="850001" lvl="1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endParaRPr lang="en-US" sz="800" dirty="0" smtClean="0"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800" b="1" dirty="0" smtClean="0"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800" b="1" dirty="0" smtClean="0"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800" b="1" dirty="0" smtClean="0">
              <a:cs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r>
              <a:rPr lang="en-US" sz="800" dirty="0" smtClean="0">
                <a:cs typeface="Arial" pitchFamily="34" charset="0"/>
              </a:rPr>
              <a:t>Rename the folders inside Coredata and Sampledata as the following.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 bwMode="auto">
          <a:xfrm>
            <a:off x="8854377" y="5496774"/>
            <a:ext cx="219051" cy="158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79252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48B0A8-A3BB-4090-A486-05597CC747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779252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3207" name="Picture 13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5856" y="1705372"/>
            <a:ext cx="5177582" cy="3214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14" name="Picture 142" descr="D:\Users\shalingu\Desktop\initialdata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5856" y="1273324"/>
            <a:ext cx="5184575" cy="3744416"/>
          </a:xfrm>
          <a:prstGeom prst="rect">
            <a:avLst/>
          </a:prstGeom>
          <a:noFill/>
        </p:spPr>
      </p:pic>
      <p:graphicFrame>
        <p:nvGraphicFramePr>
          <p:cNvPr id="17" name="Object 16"/>
          <p:cNvGraphicFramePr>
            <a:graphicFrameLocks noChangeAspect="1"/>
          </p:cNvGraphicFramePr>
          <p:nvPr/>
        </p:nvGraphicFramePr>
        <p:xfrm>
          <a:off x="899592" y="2209428"/>
          <a:ext cx="1728192" cy="504056"/>
        </p:xfrm>
        <a:graphic>
          <a:graphicData uri="http://schemas.openxmlformats.org/presentationml/2006/ole">
            <p:oleObj spid="_x0000_s3215" name="Packager Shell Object" r:id="rId5" imgW="1867320" imgH="685800" progId="Package">
              <p:embed/>
            </p:oleObj>
          </a:graphicData>
        </a:graphic>
      </p:graphicFrame>
      <p:graphicFrame>
        <p:nvGraphicFramePr>
          <p:cNvPr id="18" name="Object 17"/>
          <p:cNvGraphicFramePr>
            <a:graphicFrameLocks noChangeAspect="1"/>
          </p:cNvGraphicFramePr>
          <p:nvPr/>
        </p:nvGraphicFramePr>
        <p:xfrm>
          <a:off x="827584" y="3505572"/>
          <a:ext cx="2311400" cy="541784"/>
        </p:xfrm>
        <a:graphic>
          <a:graphicData uri="http://schemas.openxmlformats.org/presentationml/2006/ole">
            <p:oleObj spid="_x0000_s3216" name="Packager Shell Object" r:id="rId6" imgW="2311920" imgH="685800" progId="Package">
              <p:embed/>
            </p:oleObj>
          </a:graphicData>
        </a:graphic>
      </p:graphicFrame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Capgemini_A4-Template_TME_1_new[1]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Capgemini_A4-Template_TME_1_new[1]</Template>
  <TotalTime>56212</TotalTime>
  <Words>1892</Words>
  <Application>Microsoft Office PowerPoint</Application>
  <PresentationFormat>On-screen Show (16:10)</PresentationFormat>
  <Paragraphs>479</Paragraphs>
  <Slides>3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6" baseType="lpstr">
      <vt:lpstr>ppt_Capgemini_A4-Template_TME_1_new[1]</vt:lpstr>
      <vt:lpstr>Custom Design</vt:lpstr>
      <vt:lpstr>Conception personnalisée</vt:lpstr>
      <vt:lpstr>Packager Shell Object</vt:lpstr>
      <vt:lpstr>Macro-Enabled Worksheet</vt:lpstr>
      <vt:lpstr>eEyewear (eeyewear)</vt:lpstr>
      <vt:lpstr>Slide 2</vt:lpstr>
      <vt:lpstr>Objective, Prerequisites and Agenda of eeyewear</vt:lpstr>
      <vt:lpstr>Slide 4</vt:lpstr>
      <vt:lpstr>High Level System Architecture</vt:lpstr>
      <vt:lpstr>Sequence Diagram</vt:lpstr>
      <vt:lpstr>Environment Setup</vt:lpstr>
      <vt:lpstr> Installation</vt:lpstr>
      <vt:lpstr>   Implementation Approach </vt:lpstr>
      <vt:lpstr>    Core data Impex files  </vt:lpstr>
      <vt:lpstr>    Implementation Approach </vt:lpstr>
      <vt:lpstr>    Implementation Approach </vt:lpstr>
      <vt:lpstr>    Implementation Approach </vt:lpstr>
      <vt:lpstr>    Implementation Approach </vt:lpstr>
      <vt:lpstr>    Implementation Approach </vt:lpstr>
      <vt:lpstr>    Implementation Approach </vt:lpstr>
      <vt:lpstr>Slide 17</vt:lpstr>
      <vt:lpstr>Customized Delivery Method </vt:lpstr>
      <vt:lpstr>Slide 19</vt:lpstr>
      <vt:lpstr>Vouchers</vt:lpstr>
      <vt:lpstr>.</vt:lpstr>
      <vt:lpstr>Variants</vt:lpstr>
      <vt:lpstr>Coming Soon Products</vt:lpstr>
      <vt:lpstr>Secure Login</vt:lpstr>
      <vt:lpstr>Custom Registration Implementation</vt:lpstr>
      <vt:lpstr>Customize PDP to define new attribute</vt:lpstr>
      <vt:lpstr>Update My Account Details</vt:lpstr>
      <vt:lpstr>Hot Folder</vt:lpstr>
      <vt:lpstr>WCMS COCKPIT CUSTOMIZATION</vt:lpstr>
      <vt:lpstr>    AFTER CLICKING ON OFFERS  THE OFFERSPAGECONTROLLER WILL  BE CALLED WHICH WILL REDIRECT US TO THE JSP PAGE(OFFERSLAYOUTPAGE).    </vt:lpstr>
      <vt:lpstr>Slide 3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mchordia</dc:creator>
  <cp:lastModifiedBy>shalingu</cp:lastModifiedBy>
  <cp:revision>4057</cp:revision>
  <dcterms:created xsi:type="dcterms:W3CDTF">2012-06-15T15:21:08Z</dcterms:created>
  <dcterms:modified xsi:type="dcterms:W3CDTF">2017-05-30T11:09:20Z</dcterms:modified>
</cp:coreProperties>
</file>